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  <p:sldMasterId id="2147483693" r:id="rId2"/>
  </p:sldMasterIdLst>
  <p:notesMasterIdLst>
    <p:notesMasterId r:id="rId4"/>
  </p:notesMasterIdLst>
  <p:sldIdLst>
    <p:sldId id="2492" r:id="rId3"/>
  </p:sldIdLst>
  <p:sldSz cx="12801600" cy="9601200" type="A3"/>
  <p:notesSz cx="6858000" cy="9947275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Title" id="{AF818734-2365-4D80-A677-3087CF906DDD}">
          <p14:sldIdLst/>
        </p14:section>
        <p14:section name="1. General Info" id="{635E8E3C-362E-41FD-AF24-5F3D60CB69D8}">
          <p14:sldIdLst>
            <p14:sldId id="249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 Ak" initials="I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269E12"/>
    <a:srgbClr val="950101"/>
    <a:srgbClr val="CF0101"/>
    <a:srgbClr val="F63B36"/>
    <a:srgbClr val="FF9393"/>
    <a:srgbClr val="FF8181"/>
    <a:srgbClr val="FF8F8F"/>
    <a:srgbClr val="A2D050"/>
    <a:srgbClr val="F75B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01C30F-002E-4852-9BB6-EA8F86322A72}" v="2" dt="2020-03-01T19:47:37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4857" autoAdjust="0"/>
  </p:normalViewPr>
  <p:slideViewPr>
    <p:cSldViewPr snapToGrid="0">
      <p:cViewPr>
        <p:scale>
          <a:sx n="84" d="100"/>
          <a:sy n="84" d="100"/>
        </p:scale>
        <p:origin x="-1974" y="342"/>
      </p:cViewPr>
      <p:guideLst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0" y="-131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682"/>
    </p:cViewPr>
  </p:sorterViewPr>
  <p:notesViewPr>
    <p:cSldViewPr snapToGrid="0">
      <p:cViewPr varScale="1">
        <p:scale>
          <a:sx n="54" d="100"/>
          <a:sy n="54" d="100"/>
        </p:scale>
        <p:origin x="3341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tags" Target="tags/tag1.xml"/><Relationship Id="rId57" Type="http://schemas.microsoft.com/office/2016/11/relationships/changesInfo" Target="changesInfos/changesInfo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 Ak" userId="75b527419af0622e" providerId="LiveId" clId="{4975F73D-B62C-41FB-AA0B-311A4A8C5DD3}"/>
    <pc:docChg chg="undo redo custSel addSld delSld modSld sldOrd modSection">
      <pc:chgData name="Il Ak" userId="75b527419af0622e" providerId="LiveId" clId="{4975F73D-B62C-41FB-AA0B-311A4A8C5DD3}" dt="2020-01-24T12:44:23.353" v="3381" actId="20577"/>
      <pc:docMkLst>
        <pc:docMk/>
      </pc:docMkLst>
      <pc:sldChg chg="modSp">
        <pc:chgData name="Il Ak" userId="75b527419af0622e" providerId="LiveId" clId="{4975F73D-B62C-41FB-AA0B-311A4A8C5DD3}" dt="2020-01-24T10:18:23.147" v="988" actId="20577"/>
        <pc:sldMkLst>
          <pc:docMk/>
          <pc:sldMk cId="0" sldId="256"/>
        </pc:sldMkLst>
        <pc:graphicFrameChg chg="modGraphic">
          <ac:chgData name="Il Ak" userId="75b527419af0622e" providerId="LiveId" clId="{4975F73D-B62C-41FB-AA0B-311A4A8C5DD3}" dt="2020-01-24T10:18:23.147" v="988" actId="20577"/>
          <ac:graphicFrameMkLst>
            <pc:docMk/>
            <pc:sldMk cId="0" sldId="256"/>
            <ac:graphicFrameMk id="12" creationId="{DFD368D4-9E96-48C7-A4FC-9D049E0310CC}"/>
          </ac:graphicFrameMkLst>
        </pc:graphicFrameChg>
      </pc:sldChg>
      <pc:sldChg chg="modSp">
        <pc:chgData name="Il Ak" userId="75b527419af0622e" providerId="LiveId" clId="{4975F73D-B62C-41FB-AA0B-311A4A8C5DD3}" dt="2020-01-24T10:25:58.611" v="3084" actId="20577"/>
        <pc:sldMkLst>
          <pc:docMk/>
          <pc:sldMk cId="0" sldId="257"/>
        </pc:sldMkLst>
        <pc:graphicFrameChg chg="modGraphic">
          <ac:chgData name="Il Ak" userId="75b527419af0622e" providerId="LiveId" clId="{4975F73D-B62C-41FB-AA0B-311A4A8C5DD3}" dt="2020-01-24T10:25:58.611" v="3084" actId="20577"/>
          <ac:graphicFrameMkLst>
            <pc:docMk/>
            <pc:sldMk cId="0" sldId="257"/>
            <ac:graphicFrameMk id="4097" creationId="{2E8FC8AE-097B-404B-9C4D-4C9C689F262B}"/>
          </ac:graphicFrameMkLst>
        </pc:graphicFrameChg>
      </pc:sldChg>
      <pc:sldChg chg="addSp delSp modSp">
        <pc:chgData name="Il Ak" userId="75b527419af0622e" providerId="LiveId" clId="{4975F73D-B62C-41FB-AA0B-311A4A8C5DD3}" dt="2020-01-24T10:23:41.127" v="2822" actId="1035"/>
        <pc:sldMkLst>
          <pc:docMk/>
          <pc:sldMk cId="3090091703" sldId="2270"/>
        </pc:sldMkLst>
        <pc:spChg chg="mod ord">
          <ac:chgData name="Il Ak" userId="75b527419af0622e" providerId="LiveId" clId="{4975F73D-B62C-41FB-AA0B-311A4A8C5DD3}" dt="2020-01-24T10:08:24.031" v="289"/>
          <ac:spMkLst>
            <pc:docMk/>
            <pc:sldMk cId="3090091703" sldId="2270"/>
            <ac:spMk id="2" creationId="{646BF260-8496-48F1-97C9-25E5769643EF}"/>
          </ac:spMkLst>
        </pc:spChg>
        <pc:spChg chg="mod ord">
          <ac:chgData name="Il Ak" userId="75b527419af0622e" providerId="LiveId" clId="{4975F73D-B62C-41FB-AA0B-311A4A8C5DD3}" dt="2020-01-24T10:08:24.044" v="315"/>
          <ac:spMkLst>
            <pc:docMk/>
            <pc:sldMk cId="3090091703" sldId="2270"/>
            <ac:spMk id="4" creationId="{93D22255-AFF0-44F7-B754-5F5F40E3EF96}"/>
          </ac:spMkLst>
        </pc:spChg>
        <pc:spChg chg="mod ord">
          <ac:chgData name="Il Ak" userId="75b527419af0622e" providerId="LiveId" clId="{4975F73D-B62C-41FB-AA0B-311A4A8C5DD3}" dt="2020-01-24T10:08:24.032" v="291"/>
          <ac:spMkLst>
            <pc:docMk/>
            <pc:sldMk cId="3090091703" sldId="2270"/>
            <ac:spMk id="5" creationId="{6040A16D-0FCA-2546-B958-AB084CC3AB13}"/>
          </ac:spMkLst>
        </pc:spChg>
        <pc:spChg chg="mod">
          <ac:chgData name="Il Ak" userId="75b527419af0622e" providerId="LiveId" clId="{4975F73D-B62C-41FB-AA0B-311A4A8C5DD3}" dt="2020-01-24T10:08:24.035" v="298"/>
          <ac:spMkLst>
            <pc:docMk/>
            <pc:sldMk cId="3090091703" sldId="2270"/>
            <ac:spMk id="6" creationId="{9713C6E9-0D9D-40BF-AA45-BDF639A2270C}"/>
          </ac:spMkLst>
        </pc:spChg>
        <pc:spChg chg="mod">
          <ac:chgData name="Il Ak" userId="75b527419af0622e" providerId="LiveId" clId="{4975F73D-B62C-41FB-AA0B-311A4A8C5DD3}" dt="2020-01-24T10:08:24.036" v="299"/>
          <ac:spMkLst>
            <pc:docMk/>
            <pc:sldMk cId="3090091703" sldId="2270"/>
            <ac:spMk id="8" creationId="{49F76340-023E-4677-ADBD-E8BBF0CEDD10}"/>
          </ac:spMkLst>
        </pc:spChg>
        <pc:spChg chg="mod">
          <ac:chgData name="Il Ak" userId="75b527419af0622e" providerId="LiveId" clId="{4975F73D-B62C-41FB-AA0B-311A4A8C5DD3}" dt="2020-01-24T10:08:24.037" v="300"/>
          <ac:spMkLst>
            <pc:docMk/>
            <pc:sldMk cId="3090091703" sldId="2270"/>
            <ac:spMk id="9" creationId="{9E3B84F4-6D8F-411F-A5F9-7D3F8DA9CB46}"/>
          </ac:spMkLst>
        </pc:spChg>
        <pc:spChg chg="mod">
          <ac:chgData name="Il Ak" userId="75b527419af0622e" providerId="LiveId" clId="{4975F73D-B62C-41FB-AA0B-311A4A8C5DD3}" dt="2020-01-24T10:08:24.040" v="307"/>
          <ac:spMkLst>
            <pc:docMk/>
            <pc:sldMk cId="3090091703" sldId="2270"/>
            <ac:spMk id="24" creationId="{CC11E870-E00C-455C-93AD-7137B90ABC6A}"/>
          </ac:spMkLst>
        </pc:spChg>
        <pc:spChg chg="mod">
          <ac:chgData name="Il Ak" userId="75b527419af0622e" providerId="LiveId" clId="{4975F73D-B62C-41FB-AA0B-311A4A8C5DD3}" dt="2020-01-24T10:08:24.039" v="305"/>
          <ac:spMkLst>
            <pc:docMk/>
            <pc:sldMk cId="3090091703" sldId="2270"/>
            <ac:spMk id="30" creationId="{8C48CAB0-0642-4EC0-B6D1-51964F38D846}"/>
          </ac:spMkLst>
        </pc:spChg>
        <pc:spChg chg="mod">
          <ac:chgData name="Il Ak" userId="75b527419af0622e" providerId="LiveId" clId="{4975F73D-B62C-41FB-AA0B-311A4A8C5DD3}" dt="2020-01-24T10:08:24.040" v="306"/>
          <ac:spMkLst>
            <pc:docMk/>
            <pc:sldMk cId="3090091703" sldId="2270"/>
            <ac:spMk id="31" creationId="{75083BD6-74AF-4F40-934F-F40FA7FC4C5C}"/>
          </ac:spMkLst>
        </pc:spChg>
        <pc:spChg chg="mod ord">
          <ac:chgData name="Il Ak" userId="75b527419af0622e" providerId="LiveId" clId="{4975F73D-B62C-41FB-AA0B-311A4A8C5DD3}" dt="2020-01-24T10:23:35.209" v="2803" actId="1076"/>
          <ac:spMkLst>
            <pc:docMk/>
            <pc:sldMk cId="3090091703" sldId="2270"/>
            <ac:spMk id="33" creationId="{1AEAF0EA-A854-481F-8059-8436DF5B39B0}"/>
          </ac:spMkLst>
        </pc:spChg>
        <pc:spChg chg="mod">
          <ac:chgData name="Il Ak" userId="75b527419af0622e" providerId="LiveId" clId="{4975F73D-B62C-41FB-AA0B-311A4A8C5DD3}" dt="2020-01-24T10:08:24.039" v="304"/>
          <ac:spMkLst>
            <pc:docMk/>
            <pc:sldMk cId="3090091703" sldId="2270"/>
            <ac:spMk id="34" creationId="{A79062BC-6969-49A0-9606-665247E4D8A4}"/>
          </ac:spMkLst>
        </pc:spChg>
        <pc:spChg chg="mod ord">
          <ac:chgData name="Il Ak" userId="75b527419af0622e" providerId="LiveId" clId="{4975F73D-B62C-41FB-AA0B-311A4A8C5DD3}" dt="2020-01-24T10:08:24.042" v="311"/>
          <ac:spMkLst>
            <pc:docMk/>
            <pc:sldMk cId="3090091703" sldId="2270"/>
            <ac:spMk id="50" creationId="{67F16851-7015-4AF8-845E-F6F7A35D7A07}"/>
          </ac:spMkLst>
        </pc:spChg>
        <pc:spChg chg="mod">
          <ac:chgData name="Il Ak" userId="75b527419af0622e" providerId="LiveId" clId="{4975F73D-B62C-41FB-AA0B-311A4A8C5DD3}" dt="2020-01-24T10:08:24.037" v="301"/>
          <ac:spMkLst>
            <pc:docMk/>
            <pc:sldMk cId="3090091703" sldId="2270"/>
            <ac:spMk id="51" creationId="{AF2533E7-8307-46B3-B70F-E7D9CC513D4F}"/>
          </ac:spMkLst>
        </pc:spChg>
        <pc:spChg chg="mod ord">
          <ac:chgData name="Il Ak" userId="75b527419af0622e" providerId="LiveId" clId="{4975F73D-B62C-41FB-AA0B-311A4A8C5DD3}" dt="2020-01-24T10:08:24.043" v="313"/>
          <ac:spMkLst>
            <pc:docMk/>
            <pc:sldMk cId="3090091703" sldId="2270"/>
            <ac:spMk id="53" creationId="{D23A2A05-3AA8-455D-B95B-57C765AECA2D}"/>
          </ac:spMkLst>
        </pc:spChg>
        <pc:spChg chg="mod ord">
          <ac:chgData name="Il Ak" userId="75b527419af0622e" providerId="LiveId" clId="{4975F73D-B62C-41FB-AA0B-311A4A8C5DD3}" dt="2020-01-24T10:08:24.041" v="309"/>
          <ac:spMkLst>
            <pc:docMk/>
            <pc:sldMk cId="3090091703" sldId="2270"/>
            <ac:spMk id="113" creationId="{FA65FB78-D593-43A8-909E-43996BC78A99}"/>
          </ac:spMkLst>
        </pc:spChg>
        <pc:spChg chg="mod ord">
          <ac:chgData name="Il Ak" userId="75b527419af0622e" providerId="LiveId" clId="{4975F73D-B62C-41FB-AA0B-311A4A8C5DD3}" dt="2020-01-24T10:08:24.033" v="293"/>
          <ac:spMkLst>
            <pc:docMk/>
            <pc:sldMk cId="3090091703" sldId="2270"/>
            <ac:spMk id="161" creationId="{14566E63-C46B-4DCD-96CF-C698AD03CDA0}"/>
          </ac:spMkLst>
        </pc:spChg>
        <pc:grpChg chg="mod ord">
          <ac:chgData name="Il Ak" userId="75b527419af0622e" providerId="LiveId" clId="{4975F73D-B62C-41FB-AA0B-311A4A8C5DD3}" dt="2020-01-24T10:23:41.127" v="2822" actId="1035"/>
          <ac:grpSpMkLst>
            <pc:docMk/>
            <pc:sldMk cId="3090091703" sldId="2270"/>
            <ac:grpSpMk id="26" creationId="{564DAB51-AB67-4900-B92C-11E01A49C6E2}"/>
          </ac:grpSpMkLst>
        </pc:grpChg>
        <pc:grpChg chg="mod ord">
          <ac:chgData name="Il Ak" userId="75b527419af0622e" providerId="LiveId" clId="{4975F73D-B62C-41FB-AA0B-311A4A8C5DD3}" dt="2020-01-24T10:23:41.127" v="2822" actId="1035"/>
          <ac:grpSpMkLst>
            <pc:docMk/>
            <pc:sldMk cId="3090091703" sldId="2270"/>
            <ac:grpSpMk id="106" creationId="{2211DCF6-1E11-4A04-996A-471EB29C709A}"/>
          </ac:grpSpMkLst>
        </pc:grpChg>
        <pc:graphicFrameChg chg="mod ord">
          <ac:chgData name="Il Ak" userId="75b527419af0622e" providerId="LiveId" clId="{4975F73D-B62C-41FB-AA0B-311A4A8C5DD3}" dt="2020-01-24T10:08:24.051" v="323"/>
          <ac:graphicFrameMkLst>
            <pc:docMk/>
            <pc:sldMk cId="3090091703" sldId="2270"/>
            <ac:graphicFrameMk id="3" creationId="{4676F63D-BC9D-4139-BC4B-CDEBFF73A99A}"/>
          </ac:graphicFrameMkLst>
        </pc:graphicFrameChg>
        <pc:graphicFrameChg chg="add del mod ord">
          <ac:chgData name="Il Ak" userId="75b527419af0622e" providerId="LiveId" clId="{4975F73D-B62C-41FB-AA0B-311A4A8C5DD3}" dt="2020-01-24T10:08:24.014" v="280"/>
          <ac:graphicFrameMkLst>
            <pc:docMk/>
            <pc:sldMk cId="3090091703" sldId="2270"/>
            <ac:graphicFrameMk id="32" creationId="{5B357F0F-F2AE-4A4D-A7EB-624D280ACA62}"/>
          </ac:graphicFrameMkLst>
        </pc:graphicFrameChg>
        <pc:graphicFrameChg chg="del">
          <ac:chgData name="Il Ak" userId="75b527419af0622e" providerId="LiveId" clId="{4975F73D-B62C-41FB-AA0B-311A4A8C5DD3}" dt="2020-01-24T10:08:07.265" v="231"/>
          <ac:graphicFrameMkLst>
            <pc:docMk/>
            <pc:sldMk cId="3090091703" sldId="2270"/>
            <ac:graphicFrameMk id="35" creationId="{BCB09C3B-C75B-4AD7-BFB0-7C3A47953D8D}"/>
          </ac:graphicFrameMkLst>
        </pc:graphicFrameChg>
        <pc:graphicFrameChg chg="mod ord">
          <ac:chgData name="Il Ak" userId="75b527419af0622e" providerId="LiveId" clId="{4975F73D-B62C-41FB-AA0B-311A4A8C5DD3}" dt="2020-01-24T10:08:24.038" v="303"/>
          <ac:graphicFrameMkLst>
            <pc:docMk/>
            <pc:sldMk cId="3090091703" sldId="2270"/>
            <ac:graphicFrameMk id="36" creationId="{54DC5A8D-E7FC-4E79-99C0-F463AB0A4CC4}"/>
          </ac:graphicFrameMkLst>
        </pc:graphicFrameChg>
        <pc:graphicFrameChg chg="add mod ord">
          <ac:chgData name="Il Ak" userId="75b527419af0622e" providerId="LiveId" clId="{4975F73D-B62C-41FB-AA0B-311A4A8C5DD3}" dt="2020-01-24T10:08:24.035" v="297"/>
          <ac:graphicFrameMkLst>
            <pc:docMk/>
            <pc:sldMk cId="3090091703" sldId="2270"/>
            <ac:graphicFrameMk id="37" creationId="{FA81A8FE-598E-44A2-80BB-14CA281A8A07}"/>
          </ac:graphicFrameMkLst>
        </pc:graphicFrameChg>
        <pc:cxnChg chg="mod ord">
          <ac:chgData name="Il Ak" userId="75b527419af0622e" providerId="LiveId" clId="{4975F73D-B62C-41FB-AA0B-311A4A8C5DD3}" dt="2020-01-24T10:08:24.045" v="317"/>
          <ac:cxnSpMkLst>
            <pc:docMk/>
            <pc:sldMk cId="3090091703" sldId="2270"/>
            <ac:cxnSpMk id="10" creationId="{A5D0AA62-7CDD-4291-B589-0B60ADA27666}"/>
          </ac:cxnSpMkLst>
        </pc:cxnChg>
      </pc:sldChg>
      <pc:sldChg chg="addSp delSp modSp">
        <pc:chgData name="Il Ak" userId="75b527419af0622e" providerId="LiveId" clId="{4975F73D-B62C-41FB-AA0B-311A4A8C5DD3}" dt="2020-01-24T10:12:17.566" v="427" actId="207"/>
        <pc:sldMkLst>
          <pc:docMk/>
          <pc:sldMk cId="2803906086" sldId="2300"/>
        </pc:sldMkLst>
        <pc:spChg chg="mod">
          <ac:chgData name="Il Ak" userId="75b527419af0622e" providerId="LiveId" clId="{4975F73D-B62C-41FB-AA0B-311A4A8C5DD3}" dt="2020-01-24T10:10:25.727" v="409" actId="14100"/>
          <ac:spMkLst>
            <pc:docMk/>
            <pc:sldMk cId="2803906086" sldId="2300"/>
            <ac:spMk id="11" creationId="{204A0D41-0416-4629-9C7A-E8BF93260950}"/>
          </ac:spMkLst>
        </pc:spChg>
        <pc:spChg chg="mod">
          <ac:chgData name="Il Ak" userId="75b527419af0622e" providerId="LiveId" clId="{4975F73D-B62C-41FB-AA0B-311A4A8C5DD3}" dt="2020-01-24T10:11:07.405" v="419" actId="20577"/>
          <ac:spMkLst>
            <pc:docMk/>
            <pc:sldMk cId="2803906086" sldId="2300"/>
            <ac:spMk id="14" creationId="{3D3BDD30-F64C-450F-ACF5-CAB9CC6563A1}"/>
          </ac:spMkLst>
        </pc:spChg>
        <pc:spChg chg="mod">
          <ac:chgData name="Il Ak" userId="75b527419af0622e" providerId="LiveId" clId="{4975F73D-B62C-41FB-AA0B-311A4A8C5DD3}" dt="2020-01-24T10:10:25.727" v="409" actId="14100"/>
          <ac:spMkLst>
            <pc:docMk/>
            <pc:sldMk cId="2803906086" sldId="2300"/>
            <ac:spMk id="17" creationId="{624C6728-6B0B-4270-97DA-9930232226BD}"/>
          </ac:spMkLst>
        </pc:spChg>
        <pc:spChg chg="mod">
          <ac:chgData name="Il Ak" userId="75b527419af0622e" providerId="LiveId" clId="{4975F73D-B62C-41FB-AA0B-311A4A8C5DD3}" dt="2020-01-24T10:10:31.284" v="412" actId="20577"/>
          <ac:spMkLst>
            <pc:docMk/>
            <pc:sldMk cId="2803906086" sldId="2300"/>
            <ac:spMk id="20" creationId="{33EDEBE8-2873-44C1-A9DE-3688D874983F}"/>
          </ac:spMkLst>
        </pc:spChg>
        <pc:spChg chg="mod">
          <ac:chgData name="Il Ak" userId="75b527419af0622e" providerId="LiveId" clId="{4975F73D-B62C-41FB-AA0B-311A4A8C5DD3}" dt="2020-01-24T10:11:17.011" v="420" actId="20577"/>
          <ac:spMkLst>
            <pc:docMk/>
            <pc:sldMk cId="2803906086" sldId="2300"/>
            <ac:spMk id="26" creationId="{379E2A64-8823-44BA-964A-25F372E198B2}"/>
          </ac:spMkLst>
        </pc:spChg>
        <pc:spChg chg="mod">
          <ac:chgData name="Il Ak" userId="75b527419af0622e" providerId="LiveId" clId="{4975F73D-B62C-41FB-AA0B-311A4A8C5DD3}" dt="2020-01-24T10:10:58.448" v="416" actId="20577"/>
          <ac:spMkLst>
            <pc:docMk/>
            <pc:sldMk cId="2803906086" sldId="2300"/>
            <ac:spMk id="29" creationId="{87647110-309D-437D-B4EE-6698E2AED636}"/>
          </ac:spMkLst>
        </pc:spChg>
        <pc:spChg chg="mod">
          <ac:chgData name="Il Ak" userId="75b527419af0622e" providerId="LiveId" clId="{4975F73D-B62C-41FB-AA0B-311A4A8C5DD3}" dt="2020-01-24T10:10:49.507" v="413" actId="20577"/>
          <ac:spMkLst>
            <pc:docMk/>
            <pc:sldMk cId="2803906086" sldId="2300"/>
            <ac:spMk id="32" creationId="{E3ED5447-CADC-43C7-91B1-15E88492171B}"/>
          </ac:spMkLst>
        </pc:spChg>
        <pc:spChg chg="add del mod">
          <ac:chgData name="Il Ak" userId="75b527419af0622e" providerId="LiveId" clId="{4975F73D-B62C-41FB-AA0B-311A4A8C5DD3}" dt="2020-01-24T10:12:17.566" v="427" actId="207"/>
          <ac:spMkLst>
            <pc:docMk/>
            <pc:sldMk cId="2803906086" sldId="2300"/>
            <ac:spMk id="33" creationId="{59BCEADC-5EA5-4A25-BDDF-92C6992AFC9B}"/>
          </ac:spMkLst>
        </pc:spChg>
        <pc:spChg chg="mod">
          <ac:chgData name="Il Ak" userId="75b527419af0622e" providerId="LiveId" clId="{4975F73D-B62C-41FB-AA0B-311A4A8C5DD3}" dt="2020-01-24T10:11:22.165" v="423" actId="20577"/>
          <ac:spMkLst>
            <pc:docMk/>
            <pc:sldMk cId="2803906086" sldId="2300"/>
            <ac:spMk id="35" creationId="{9FC4B10E-B958-4BA2-8A1A-5E7D0B3432E9}"/>
          </ac:spMkLst>
        </pc:spChg>
        <pc:spChg chg="mod">
          <ac:chgData name="Il Ak" userId="75b527419af0622e" providerId="LiveId" clId="{4975F73D-B62C-41FB-AA0B-311A4A8C5DD3}" dt="2020-01-24T10:10:53.462" v="414" actId="20577"/>
          <ac:spMkLst>
            <pc:docMk/>
            <pc:sldMk cId="2803906086" sldId="2300"/>
            <ac:spMk id="38" creationId="{F28A66BA-C012-438A-B0DC-2B8352D85872}"/>
          </ac:spMkLst>
        </pc:spChg>
        <pc:spChg chg="mod">
          <ac:chgData name="Il Ak" userId="75b527419af0622e" providerId="LiveId" clId="{4975F73D-B62C-41FB-AA0B-311A4A8C5DD3}" dt="2020-01-24T10:10:25.727" v="409" actId="14100"/>
          <ac:spMkLst>
            <pc:docMk/>
            <pc:sldMk cId="2803906086" sldId="2300"/>
            <ac:spMk id="47" creationId="{8CA052F9-DE2C-420B-B962-60D6AE638C93}"/>
          </ac:spMkLst>
        </pc:spChg>
        <pc:spChg chg="mod">
          <ac:chgData name="Il Ak" userId="75b527419af0622e" providerId="LiveId" clId="{4975F73D-B62C-41FB-AA0B-311A4A8C5DD3}" dt="2020-01-24T10:10:25.727" v="409" actId="14100"/>
          <ac:spMkLst>
            <pc:docMk/>
            <pc:sldMk cId="2803906086" sldId="2300"/>
            <ac:spMk id="50" creationId="{A96BBF8E-093F-4E11-BA17-7F963E12A1E4}"/>
          </ac:spMkLst>
        </pc:spChg>
      </pc:sldChg>
      <pc:sldChg chg="addSp delSp modSp">
        <pc:chgData name="Il Ak" userId="75b527419af0622e" providerId="LiveId" clId="{4975F73D-B62C-41FB-AA0B-311A4A8C5DD3}" dt="2020-01-24T10:22:58.865" v="2796" actId="1076"/>
        <pc:sldMkLst>
          <pc:docMk/>
          <pc:sldMk cId="869479" sldId="2394"/>
        </pc:sldMkLst>
        <pc:spChg chg="del">
          <ac:chgData name="Il Ak" userId="75b527419af0622e" providerId="LiveId" clId="{4975F73D-B62C-41FB-AA0B-311A4A8C5DD3}" dt="2020-01-24T10:22:30.867" v="2582"/>
          <ac:spMkLst>
            <pc:docMk/>
            <pc:sldMk cId="869479" sldId="2394"/>
            <ac:spMk id="2" creationId="{82B8A4A9-69D8-432F-B112-94D0A115B05C}"/>
          </ac:spMkLst>
        </pc:spChg>
        <pc:spChg chg="mod ord">
          <ac:chgData name="Il Ak" userId="75b527419af0622e" providerId="LiveId" clId="{4975F73D-B62C-41FB-AA0B-311A4A8C5DD3}" dt="2020-01-24T10:22:35.291" v="2760"/>
          <ac:spMkLst>
            <pc:docMk/>
            <pc:sldMk cId="869479" sldId="2394"/>
            <ac:spMk id="5" creationId="{F50DAC38-D7A5-4E9B-9A7E-8CB6647B2F26}"/>
          </ac:spMkLst>
        </pc:spChg>
        <pc:spChg chg="mod ord">
          <ac:chgData name="Il Ak" userId="75b527419af0622e" providerId="LiveId" clId="{4975F73D-B62C-41FB-AA0B-311A4A8C5DD3}" dt="2020-01-24T10:22:35.288" v="2754"/>
          <ac:spMkLst>
            <pc:docMk/>
            <pc:sldMk cId="869479" sldId="2394"/>
            <ac:spMk id="6" creationId="{33CC6592-AA49-450A-9312-8F655356AD82}"/>
          </ac:spMkLst>
        </pc:spChg>
        <pc:spChg chg="mod ord">
          <ac:chgData name="Il Ak" userId="75b527419af0622e" providerId="LiveId" clId="{4975F73D-B62C-41FB-AA0B-311A4A8C5DD3}" dt="2020-01-24T10:22:35.292" v="2762"/>
          <ac:spMkLst>
            <pc:docMk/>
            <pc:sldMk cId="869479" sldId="2394"/>
            <ac:spMk id="7" creationId="{A7074AFD-BDB5-43CA-A39F-81ECB0183F04}"/>
          </ac:spMkLst>
        </pc:spChg>
        <pc:spChg chg="del">
          <ac:chgData name="Il Ak" userId="75b527419af0622e" providerId="LiveId" clId="{4975F73D-B62C-41FB-AA0B-311A4A8C5DD3}" dt="2020-01-24T10:22:30.870" v="2584"/>
          <ac:spMkLst>
            <pc:docMk/>
            <pc:sldMk cId="869479" sldId="2394"/>
            <ac:spMk id="27" creationId="{3E7E611C-141F-4A1C-9C29-F59929EE8E35}"/>
          </ac:spMkLst>
        </pc:spChg>
        <pc:spChg chg="del">
          <ac:chgData name="Il Ak" userId="75b527419af0622e" providerId="LiveId" clId="{4975F73D-B62C-41FB-AA0B-311A4A8C5DD3}" dt="2020-01-24T10:22:30.858" v="2578"/>
          <ac:spMkLst>
            <pc:docMk/>
            <pc:sldMk cId="869479" sldId="2394"/>
            <ac:spMk id="39" creationId="{1FB9295C-0BD2-45CE-98CF-D06C5CAA90A6}"/>
          </ac:spMkLst>
        </pc:spChg>
        <pc:spChg chg="mod ord">
          <ac:chgData name="Il Ak" userId="75b527419af0622e" providerId="LiveId" clId="{4975F73D-B62C-41FB-AA0B-311A4A8C5DD3}" dt="2020-01-24T10:22:35.296" v="2770"/>
          <ac:spMkLst>
            <pc:docMk/>
            <pc:sldMk cId="869479" sldId="2394"/>
            <ac:spMk id="41" creationId="{1CE240B0-8463-4B4E-A692-404F56991D48}"/>
          </ac:spMkLst>
        </pc:spChg>
        <pc:spChg chg="mod ord">
          <ac:chgData name="Il Ak" userId="75b527419af0622e" providerId="LiveId" clId="{4975F73D-B62C-41FB-AA0B-311A4A8C5DD3}" dt="2020-01-24T10:22:58.865" v="2796" actId="1076"/>
          <ac:spMkLst>
            <pc:docMk/>
            <pc:sldMk cId="869479" sldId="2394"/>
            <ac:spMk id="43" creationId="{D127A564-A15D-475D-8F97-7668EB6835B7}"/>
          </ac:spMkLst>
        </pc:spChg>
        <pc:spChg chg="add mod ord">
          <ac:chgData name="Il Ak" userId="75b527419af0622e" providerId="LiveId" clId="{4975F73D-B62C-41FB-AA0B-311A4A8C5DD3}" dt="2020-01-24T10:22:35.301" v="2782"/>
          <ac:spMkLst>
            <pc:docMk/>
            <pc:sldMk cId="869479" sldId="2394"/>
            <ac:spMk id="44" creationId="{B1F1AD76-B0AC-4DFE-BBB4-C25129B2BA92}"/>
          </ac:spMkLst>
        </pc:spChg>
        <pc:spChg chg="mod ord">
          <ac:chgData name="Il Ak" userId="75b527419af0622e" providerId="LiveId" clId="{4975F73D-B62C-41FB-AA0B-311A4A8C5DD3}" dt="2020-01-24T10:22:46.666" v="2795" actId="1076"/>
          <ac:spMkLst>
            <pc:docMk/>
            <pc:sldMk cId="869479" sldId="2394"/>
            <ac:spMk id="45" creationId="{66876A9C-BCC8-4AA4-A48D-0F71825A7552}"/>
          </ac:spMkLst>
        </pc:spChg>
        <pc:spChg chg="mod ord">
          <ac:chgData name="Il Ak" userId="75b527419af0622e" providerId="LiveId" clId="{4975F73D-B62C-41FB-AA0B-311A4A8C5DD3}" dt="2020-01-24T10:22:35.299" v="2776"/>
          <ac:spMkLst>
            <pc:docMk/>
            <pc:sldMk cId="869479" sldId="2394"/>
            <ac:spMk id="46" creationId="{162BDF00-3274-4FFE-A4A3-DC50726299D7}"/>
          </ac:spMkLst>
        </pc:spChg>
        <pc:spChg chg="mod ord">
          <ac:chgData name="Il Ak" userId="75b527419af0622e" providerId="LiveId" clId="{4975F73D-B62C-41FB-AA0B-311A4A8C5DD3}" dt="2020-01-24T10:22:58.865" v="2796" actId="1076"/>
          <ac:spMkLst>
            <pc:docMk/>
            <pc:sldMk cId="869479" sldId="2394"/>
            <ac:spMk id="47" creationId="{31A2E8D8-22A3-487B-869A-545D53C7ECBD}"/>
          </ac:spMkLst>
        </pc:spChg>
        <pc:spChg chg="mod ord">
          <ac:chgData name="Il Ak" userId="75b527419af0622e" providerId="LiveId" clId="{4975F73D-B62C-41FB-AA0B-311A4A8C5DD3}" dt="2020-01-24T10:22:46.666" v="2795" actId="1076"/>
          <ac:spMkLst>
            <pc:docMk/>
            <pc:sldMk cId="869479" sldId="2394"/>
            <ac:spMk id="48" creationId="{F4948761-7FA7-4822-B3D2-F48F6863AE16}"/>
          </ac:spMkLst>
        </pc:spChg>
        <pc:spChg chg="del">
          <ac:chgData name="Il Ak" userId="75b527419af0622e" providerId="LiveId" clId="{4975F73D-B62C-41FB-AA0B-311A4A8C5DD3}" dt="2020-01-24T10:22:30.856" v="2576"/>
          <ac:spMkLst>
            <pc:docMk/>
            <pc:sldMk cId="869479" sldId="2394"/>
            <ac:spMk id="50" creationId="{6A201E0F-EC53-4874-B55C-C012EAF3BD2D}"/>
          </ac:spMkLst>
        </pc:spChg>
        <pc:spChg chg="add mod">
          <ac:chgData name="Il Ak" userId="75b527419af0622e" providerId="LiveId" clId="{4975F73D-B62C-41FB-AA0B-311A4A8C5DD3}" dt="2020-01-24T10:22:35.303" v="2785"/>
          <ac:spMkLst>
            <pc:docMk/>
            <pc:sldMk cId="869479" sldId="2394"/>
            <ac:spMk id="51" creationId="{2223B6B4-6AA3-4BEB-B049-E7BD20C473F3}"/>
          </ac:spMkLst>
        </pc:spChg>
        <pc:spChg chg="add mod">
          <ac:chgData name="Il Ak" userId="75b527419af0622e" providerId="LiveId" clId="{4975F73D-B62C-41FB-AA0B-311A4A8C5DD3}" dt="2020-01-24T10:22:35.303" v="2786"/>
          <ac:spMkLst>
            <pc:docMk/>
            <pc:sldMk cId="869479" sldId="2394"/>
            <ac:spMk id="52" creationId="{3AAC73C4-7C7E-4235-8E64-D3A6F95BF065}"/>
          </ac:spMkLst>
        </pc:spChg>
        <pc:spChg chg="add mod">
          <ac:chgData name="Il Ak" userId="75b527419af0622e" providerId="LiveId" clId="{4975F73D-B62C-41FB-AA0B-311A4A8C5DD3}" dt="2020-01-24T10:22:35.304" v="2788"/>
          <ac:spMkLst>
            <pc:docMk/>
            <pc:sldMk cId="869479" sldId="2394"/>
            <ac:spMk id="53" creationId="{6EB24A1C-1984-4CB8-AC1F-82BCB0FA3F49}"/>
          </ac:spMkLst>
        </pc:spChg>
        <pc:spChg chg="add mod">
          <ac:chgData name="Il Ak" userId="75b527419af0622e" providerId="LiveId" clId="{4975F73D-B62C-41FB-AA0B-311A4A8C5DD3}" dt="2020-01-24T10:22:35.305" v="2789"/>
          <ac:spMkLst>
            <pc:docMk/>
            <pc:sldMk cId="869479" sldId="2394"/>
            <ac:spMk id="54" creationId="{D62AF0A1-5856-4F33-8144-25B7E174FD03}"/>
          </ac:spMkLst>
        </pc:spChg>
        <pc:spChg chg="add mod">
          <ac:chgData name="Il Ak" userId="75b527419af0622e" providerId="LiveId" clId="{4975F73D-B62C-41FB-AA0B-311A4A8C5DD3}" dt="2020-01-24T10:22:35.305" v="2790"/>
          <ac:spMkLst>
            <pc:docMk/>
            <pc:sldMk cId="869479" sldId="2394"/>
            <ac:spMk id="55" creationId="{55F6B46C-6F65-46BB-8D45-2662A3324440}"/>
          </ac:spMkLst>
        </pc:spChg>
        <pc:spChg chg="add mod">
          <ac:chgData name="Il Ak" userId="75b527419af0622e" providerId="LiveId" clId="{4975F73D-B62C-41FB-AA0B-311A4A8C5DD3}" dt="2020-01-24T10:22:35.304" v="2787"/>
          <ac:spMkLst>
            <pc:docMk/>
            <pc:sldMk cId="869479" sldId="2394"/>
            <ac:spMk id="56" creationId="{5C3FC4DA-5273-4A87-AA8F-F52C017C9C99}"/>
          </ac:spMkLst>
        </pc:spChg>
        <pc:spChg chg="add mod ord">
          <ac:chgData name="Il Ak" userId="75b527419af0622e" providerId="LiveId" clId="{4975F73D-B62C-41FB-AA0B-311A4A8C5DD3}" dt="2020-01-24T10:22:35.306" v="2792"/>
          <ac:spMkLst>
            <pc:docMk/>
            <pc:sldMk cId="869479" sldId="2394"/>
            <ac:spMk id="57" creationId="{B80C7288-B8D4-4ADA-960F-BD828442C319}"/>
          </ac:spMkLst>
        </pc:spChg>
        <pc:spChg chg="del">
          <ac:chgData name="Il Ak" userId="75b527419af0622e" providerId="LiveId" clId="{4975F73D-B62C-41FB-AA0B-311A4A8C5DD3}" dt="2020-01-24T10:22:30.854" v="2574"/>
          <ac:spMkLst>
            <pc:docMk/>
            <pc:sldMk cId="869479" sldId="2394"/>
            <ac:spMk id="76" creationId="{2378434B-BD85-492D-8767-E2F3355FC3C2}"/>
          </ac:spMkLst>
        </pc:spChg>
        <pc:spChg chg="del">
          <ac:chgData name="Il Ak" userId="75b527419af0622e" providerId="LiveId" clId="{4975F73D-B62C-41FB-AA0B-311A4A8C5DD3}" dt="2020-01-24T10:22:30.851" v="2573"/>
          <ac:spMkLst>
            <pc:docMk/>
            <pc:sldMk cId="869479" sldId="2394"/>
            <ac:spMk id="87" creationId="{FD8887E0-1A10-4675-AA91-0DF413873316}"/>
          </ac:spMkLst>
        </pc:spChg>
        <pc:spChg chg="del">
          <ac:chgData name="Il Ak" userId="75b527419af0622e" providerId="LiveId" clId="{4975F73D-B62C-41FB-AA0B-311A4A8C5DD3}" dt="2020-01-24T10:22:30.857" v="2577"/>
          <ac:spMkLst>
            <pc:docMk/>
            <pc:sldMk cId="869479" sldId="2394"/>
            <ac:spMk id="89" creationId="{87AB7F2A-6817-4C27-A198-76BAEF5A29BF}"/>
          </ac:spMkLst>
        </pc:spChg>
        <pc:spChg chg="del">
          <ac:chgData name="Il Ak" userId="75b527419af0622e" providerId="LiveId" clId="{4975F73D-B62C-41FB-AA0B-311A4A8C5DD3}" dt="2020-01-24T10:22:30.855" v="2575"/>
          <ac:spMkLst>
            <pc:docMk/>
            <pc:sldMk cId="869479" sldId="2394"/>
            <ac:spMk id="90" creationId="{6DFDD6CD-1244-4497-A039-AE8A9F1F5270}"/>
          </ac:spMkLst>
        </pc:spChg>
        <pc:spChg chg="mod ord">
          <ac:chgData name="Il Ak" userId="75b527419af0622e" providerId="LiveId" clId="{4975F73D-B62C-41FB-AA0B-311A4A8C5DD3}" dt="2020-01-24T10:22:35.293" v="2764"/>
          <ac:spMkLst>
            <pc:docMk/>
            <pc:sldMk cId="869479" sldId="2394"/>
            <ac:spMk id="113" creationId="{87F7FE6A-74A9-4DFD-946A-92012BABB1E0}"/>
          </ac:spMkLst>
        </pc:spChg>
        <pc:spChg chg="mod ord">
          <ac:chgData name="Il Ak" userId="75b527419af0622e" providerId="LiveId" clId="{4975F73D-B62C-41FB-AA0B-311A4A8C5DD3}" dt="2020-01-24T10:22:35.294" v="2766"/>
          <ac:spMkLst>
            <pc:docMk/>
            <pc:sldMk cId="869479" sldId="2394"/>
            <ac:spMk id="114" creationId="{E9935FED-60DA-42D0-85D0-2A2EFA975AE3}"/>
          </ac:spMkLst>
        </pc:spChg>
        <pc:spChg chg="mod ord">
          <ac:chgData name="Il Ak" userId="75b527419af0622e" providerId="LiveId" clId="{4975F73D-B62C-41FB-AA0B-311A4A8C5DD3}" dt="2020-01-24T10:22:35.295" v="2768"/>
          <ac:spMkLst>
            <pc:docMk/>
            <pc:sldMk cId="869479" sldId="2394"/>
            <ac:spMk id="7172" creationId="{0D51CC36-98F1-43C4-B77A-385FD1670239}"/>
          </ac:spMkLst>
        </pc:spChg>
        <pc:grpChg chg="mod ord">
          <ac:chgData name="Il Ak" userId="75b527419af0622e" providerId="LiveId" clId="{4975F73D-B62C-41FB-AA0B-311A4A8C5DD3}" dt="2020-01-24T10:22:35.290" v="2758"/>
          <ac:grpSpMkLst>
            <pc:docMk/>
            <pc:sldMk cId="869479" sldId="2394"/>
            <ac:grpSpMk id="7173" creationId="{E04F149A-D217-4FF7-B1EA-05EE4047FCC3}"/>
          </ac:grpSpMkLst>
        </pc:grpChg>
        <pc:graphicFrameChg chg="add del">
          <ac:chgData name="Il Ak" userId="75b527419af0622e" providerId="LiveId" clId="{4975F73D-B62C-41FB-AA0B-311A4A8C5DD3}" dt="2020-01-24T10:22:35.266" v="2735"/>
          <ac:graphicFrameMkLst>
            <pc:docMk/>
            <pc:sldMk cId="869479" sldId="2394"/>
            <ac:graphicFrameMk id="49" creationId="{4EA94E31-DAA0-43B3-9137-F180B68A7CC7}"/>
          </ac:graphicFrameMkLst>
        </pc:graphicFrameChg>
        <pc:graphicFrameChg chg="add mod ord">
          <ac:chgData name="Il Ak" userId="75b527419af0622e" providerId="LiveId" clId="{4975F73D-B62C-41FB-AA0B-311A4A8C5DD3}" dt="2020-01-24T10:22:35.302" v="2784"/>
          <ac:graphicFrameMkLst>
            <pc:docMk/>
            <pc:sldMk cId="869479" sldId="2394"/>
            <ac:graphicFrameMk id="58" creationId="{3792010B-D694-4672-9F72-6FA68A3256FA}"/>
          </ac:graphicFrameMkLst>
        </pc:graphicFrameChg>
        <pc:graphicFrameChg chg="del">
          <ac:chgData name="Il Ak" userId="75b527419af0622e" providerId="LiveId" clId="{4975F73D-B62C-41FB-AA0B-311A4A8C5DD3}" dt="2020-01-24T10:22:30.865" v="2580"/>
          <ac:graphicFrameMkLst>
            <pc:docMk/>
            <pc:sldMk cId="869479" sldId="2394"/>
            <ac:graphicFrameMk id="100" creationId="{A940B07D-B766-481A-80B7-733B48A969C0}"/>
          </ac:graphicFrameMkLst>
        </pc:graphicFrameChg>
        <pc:graphicFrameChg chg="mod ord">
          <ac:chgData name="Il Ak" userId="75b527419af0622e" providerId="LiveId" clId="{4975F73D-B62C-41FB-AA0B-311A4A8C5DD3}" dt="2020-01-24T10:22:35.310" v="2794"/>
          <ac:graphicFrameMkLst>
            <pc:docMk/>
            <pc:sldMk cId="869479" sldId="2394"/>
            <ac:graphicFrameMk id="7170" creationId="{BE174EA5-253C-41DB-9C13-59D2D3D0449E}"/>
          </ac:graphicFrameMkLst>
        </pc:graphicFrameChg>
        <pc:picChg chg="mod ord">
          <ac:chgData name="Il Ak" userId="75b527419af0622e" providerId="LiveId" clId="{4975F73D-B62C-41FB-AA0B-311A4A8C5DD3}" dt="2020-01-24T10:22:35.289" v="2756"/>
          <ac:picMkLst>
            <pc:docMk/>
            <pc:sldMk cId="869479" sldId="2394"/>
            <ac:picMk id="4" creationId="{A0ECB088-3E15-4C68-8498-5EBD2ACB647A}"/>
          </ac:picMkLst>
        </pc:picChg>
      </pc:sldChg>
      <pc:sldChg chg="modSp">
        <pc:chgData name="Il Ak" userId="75b527419af0622e" providerId="LiveId" clId="{4975F73D-B62C-41FB-AA0B-311A4A8C5DD3}" dt="2020-01-24T10:09:35.578" v="407"/>
        <pc:sldMkLst>
          <pc:docMk/>
          <pc:sldMk cId="2008571473" sldId="2412"/>
        </pc:sldMkLst>
        <pc:spChg chg="mod">
          <ac:chgData name="Il Ak" userId="75b527419af0622e" providerId="LiveId" clId="{4975F73D-B62C-41FB-AA0B-311A4A8C5DD3}" dt="2020-01-24T10:09:34.016" v="405"/>
          <ac:spMkLst>
            <pc:docMk/>
            <pc:sldMk cId="2008571473" sldId="2412"/>
            <ac:spMk id="5" creationId="{F50DAC38-D7A5-4E9B-9A7E-8CB6647B2F26}"/>
          </ac:spMkLst>
        </pc:spChg>
        <pc:spChg chg="mod">
          <ac:chgData name="Il Ak" userId="75b527419af0622e" providerId="LiveId" clId="{4975F73D-B62C-41FB-AA0B-311A4A8C5DD3}" dt="2020-01-24T10:08:53.700" v="347" actId="6549"/>
          <ac:spMkLst>
            <pc:docMk/>
            <pc:sldMk cId="2008571473" sldId="2412"/>
            <ac:spMk id="6" creationId="{33CC6592-AA49-450A-9312-8F655356AD82}"/>
          </ac:spMkLst>
        </pc:spChg>
        <pc:graphicFrameChg chg="mod">
          <ac:chgData name="Il Ak" userId="75b527419af0622e" providerId="LiveId" clId="{4975F73D-B62C-41FB-AA0B-311A4A8C5DD3}" dt="2020-01-24T10:09:35.578" v="407"/>
          <ac:graphicFrameMkLst>
            <pc:docMk/>
            <pc:sldMk cId="2008571473" sldId="2412"/>
            <ac:graphicFrameMk id="7170" creationId="{BE174EA5-253C-41DB-9C13-59D2D3D0449E}"/>
          </ac:graphicFrameMkLst>
        </pc:graphicFrameChg>
      </pc:sldChg>
      <pc:sldChg chg="modSp">
        <pc:chgData name="Il Ak" userId="75b527419af0622e" providerId="LiveId" clId="{4975F73D-B62C-41FB-AA0B-311A4A8C5DD3}" dt="2020-01-24T10:25:33.444" v="3062" actId="465"/>
        <pc:sldMkLst>
          <pc:docMk/>
          <pc:sldMk cId="380805814" sldId="2421"/>
        </pc:sldMkLst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2" creationId="{A9F62E95-D43B-4BE4-B209-B54147DA33CE}"/>
          </ac:spMkLst>
        </pc:spChg>
        <pc:spChg chg="mod">
          <ac:chgData name="Il Ak" userId="75b527419af0622e" providerId="LiveId" clId="{4975F73D-B62C-41FB-AA0B-311A4A8C5DD3}" dt="2020-01-24T10:25:01.056" v="3041" actId="2085"/>
          <ac:spMkLst>
            <pc:docMk/>
            <pc:sldMk cId="380805814" sldId="2421"/>
            <ac:spMk id="3" creationId="{94DA89FE-15A2-4B92-B297-845F55E9D82A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7" creationId="{7DD3317F-34F3-48B4-BA9D-B58B18B6AC73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8" creationId="{78EC2D8C-366D-4B65-BE64-849AA8AC640B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9" creationId="{D1E28C57-6612-4DB3-9AC9-A6C76E890327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0" creationId="{7D659F1C-3E0F-4AF4-AE27-A21BC2A6D51D}"/>
          </ac:spMkLst>
        </pc:spChg>
        <pc:spChg chg="mod">
          <ac:chgData name="Il Ak" userId="75b527419af0622e" providerId="LiveId" clId="{4975F73D-B62C-41FB-AA0B-311A4A8C5DD3}" dt="2020-01-24T10:25:01.056" v="3041" actId="2085"/>
          <ac:spMkLst>
            <pc:docMk/>
            <pc:sldMk cId="380805814" sldId="2421"/>
            <ac:spMk id="13" creationId="{547E847D-3FD4-4600-A115-1CBBF3EB8091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5" creationId="{D16CAE42-BE29-43DA-BA21-415ECC7D5E50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6" creationId="{214DD6AF-9957-432D-BF98-17905D7A07E5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7" creationId="{8B4485C0-7A9C-4E64-8150-063B6B1803E3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8" creationId="{E2D5A522-7B00-41B4-BA50-5A7EDD59424D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19" creationId="{2DA6856A-A295-4E12-B07B-A24C45FA5539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22" creationId="{D99F8D59-2C50-47A7-ADBB-EDBD351C988C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23" creationId="{8E91D48B-123E-426A-B8EA-46D475199256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34" creationId="{30CF7C98-ECDF-4A3C-9EFF-8B65929861F0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35" creationId="{E197A7F8-0875-4E06-8C18-658E53CCB6E7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36" creationId="{AED93D39-D9D3-4FFB-9B08-06D66AE869BA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40" creationId="{359950A1-05AF-4D03-93DD-5FBDC2999207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41" creationId="{53012955-7D79-4850-9E96-0DB5E8F4D676}"/>
          </ac:spMkLst>
        </pc:spChg>
        <pc:spChg chg="mod">
          <ac:chgData name="Il Ak" userId="75b527419af0622e" providerId="LiveId" clId="{4975F73D-B62C-41FB-AA0B-311A4A8C5DD3}" dt="2020-01-24T10:25:13.103" v="3044" actId="255"/>
          <ac:spMkLst>
            <pc:docMk/>
            <pc:sldMk cId="380805814" sldId="2421"/>
            <ac:spMk id="42" creationId="{D377102D-3B37-4D1F-A58F-C137FF30DD58}"/>
          </ac:spMkLst>
        </pc:s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28" creationId="{36E99F18-1E0A-4DA7-AC10-FCA93F02DD8D}"/>
          </ac:grpSpMkLst>
        </pc:gr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29" creationId="{27B9B473-DAF7-4FEE-9617-52C5DDEE23F8}"/>
          </ac:grpSpMkLst>
        </pc:gr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30" creationId="{DE6117D5-361E-4DBD-9566-2240B625BEFB}"/>
          </ac:grpSpMkLst>
        </pc:gr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31" creationId="{11DFABD6-78DE-4E3D-B6AF-549EA8AEF137}"/>
          </ac:grpSpMkLst>
        </pc:gr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32" creationId="{075E5B3F-E44C-4D67-91F3-BFFF867F5204}"/>
          </ac:grpSpMkLst>
        </pc:grpChg>
        <pc:grpChg chg="mod">
          <ac:chgData name="Il Ak" userId="75b527419af0622e" providerId="LiveId" clId="{4975F73D-B62C-41FB-AA0B-311A4A8C5DD3}" dt="2020-01-24T10:25:33.444" v="3062" actId="465"/>
          <ac:grpSpMkLst>
            <pc:docMk/>
            <pc:sldMk cId="380805814" sldId="2421"/>
            <ac:grpSpMk id="33" creationId="{C0CCA988-AB34-4613-872E-A7ABFE8F2D05}"/>
          </ac:grpSpMkLst>
        </pc:grpChg>
        <pc:grpChg chg="mod">
          <ac:chgData name="Il Ak" userId="75b527419af0622e" providerId="LiveId" clId="{4975F73D-B62C-41FB-AA0B-311A4A8C5DD3}" dt="2020-01-24T10:25:06.113" v="3043" actId="14100"/>
          <ac:grpSpMkLst>
            <pc:docMk/>
            <pc:sldMk cId="380805814" sldId="2421"/>
            <ac:grpSpMk id="7168" creationId="{08E482C1-71B3-49B0-A0C1-0C627307C900}"/>
          </ac:grpSpMkLst>
        </pc:grpChg>
      </pc:sldChg>
      <pc:sldChg chg="modSp ord">
        <pc:chgData name="Il Ak" userId="75b527419af0622e" providerId="LiveId" clId="{4975F73D-B62C-41FB-AA0B-311A4A8C5DD3}" dt="2020-01-24T12:30:12.509" v="3294"/>
        <pc:sldMkLst>
          <pc:docMk/>
          <pc:sldMk cId="1390511560" sldId="2424"/>
        </pc:sldMkLst>
        <pc:spChg chg="mod">
          <ac:chgData name="Il Ak" userId="75b527419af0622e" providerId="LiveId" clId="{4975F73D-B62C-41FB-AA0B-311A4A8C5DD3}" dt="2020-01-24T10:26:29.298" v="3092" actId="108"/>
          <ac:spMkLst>
            <pc:docMk/>
            <pc:sldMk cId="1390511560" sldId="2424"/>
            <ac:spMk id="67" creationId="{CFA61BDA-2C3E-4A9E-8CCA-A0B9DA853E46}"/>
          </ac:spMkLst>
        </pc:spChg>
      </pc:sldChg>
      <pc:sldChg chg="modSp">
        <pc:chgData name="Il Ak" userId="75b527419af0622e" providerId="LiveId" clId="{4975F73D-B62C-41FB-AA0B-311A4A8C5DD3}" dt="2020-01-24T10:26:52.927" v="3098" actId="108"/>
        <pc:sldMkLst>
          <pc:docMk/>
          <pc:sldMk cId="2387919653" sldId="2428"/>
        </pc:sldMkLst>
        <pc:spChg chg="mod">
          <ac:chgData name="Il Ak" userId="75b527419af0622e" providerId="LiveId" clId="{4975F73D-B62C-41FB-AA0B-311A4A8C5DD3}" dt="2020-01-24T10:26:52.927" v="3098" actId="108"/>
          <ac:spMkLst>
            <pc:docMk/>
            <pc:sldMk cId="2387919653" sldId="2428"/>
            <ac:spMk id="31" creationId="{5A4B76CB-9F1C-4D77-B5A4-DB57E442F1CC}"/>
          </ac:spMkLst>
        </pc:spChg>
      </pc:sldChg>
      <pc:sldChg chg="modSp">
        <pc:chgData name="Il Ak" userId="75b527419af0622e" providerId="LiveId" clId="{4975F73D-B62C-41FB-AA0B-311A4A8C5DD3}" dt="2020-01-24T10:26:56.083" v="3099" actId="108"/>
        <pc:sldMkLst>
          <pc:docMk/>
          <pc:sldMk cId="651445341" sldId="2429"/>
        </pc:sldMkLst>
        <pc:spChg chg="mod">
          <ac:chgData name="Il Ak" userId="75b527419af0622e" providerId="LiveId" clId="{4975F73D-B62C-41FB-AA0B-311A4A8C5DD3}" dt="2020-01-24T10:26:56.083" v="3099" actId="108"/>
          <ac:spMkLst>
            <pc:docMk/>
            <pc:sldMk cId="651445341" sldId="2429"/>
            <ac:spMk id="116" creationId="{0FBE1F51-A7BD-4FA4-9DA7-F68A836B1F31}"/>
          </ac:spMkLst>
        </pc:spChg>
      </pc:sldChg>
      <pc:sldChg chg="addSp delSp modSp">
        <pc:chgData name="Il Ak" userId="75b527419af0622e" providerId="LiveId" clId="{4975F73D-B62C-41FB-AA0B-311A4A8C5DD3}" dt="2020-01-24T12:35:26.110" v="3336" actId="207"/>
        <pc:sldMkLst>
          <pc:docMk/>
          <pc:sldMk cId="1886033768" sldId="2431"/>
        </pc:sldMkLst>
        <pc:spChg chg="mod">
          <ac:chgData name="Il Ak" userId="75b527419af0622e" providerId="LiveId" clId="{4975F73D-B62C-41FB-AA0B-311A4A8C5DD3}" dt="2020-01-24T10:27:00.177" v="3100" actId="108"/>
          <ac:spMkLst>
            <pc:docMk/>
            <pc:sldMk cId="1886033768" sldId="2431"/>
            <ac:spMk id="12" creationId="{FE4BB2DE-CB65-4E39-9722-A35EA86B021A}"/>
          </ac:spMkLst>
        </pc:spChg>
        <pc:spChg chg="mod">
          <ac:chgData name="Il Ak" userId="75b527419af0622e" providerId="LiveId" clId="{4975F73D-B62C-41FB-AA0B-311A4A8C5DD3}" dt="2020-01-24T12:31:03.474" v="3295" actId="1076"/>
          <ac:spMkLst>
            <pc:docMk/>
            <pc:sldMk cId="1886033768" sldId="2431"/>
            <ac:spMk id="13" creationId="{03B5569C-C1E7-441B-9601-FF1D0B9B5ECE}"/>
          </ac:spMkLst>
        </pc:spChg>
        <pc:spChg chg="mod">
          <ac:chgData name="Il Ak" userId="75b527419af0622e" providerId="LiveId" clId="{4975F73D-B62C-41FB-AA0B-311A4A8C5DD3}" dt="2020-01-24T12:35:26.110" v="3336" actId="207"/>
          <ac:spMkLst>
            <pc:docMk/>
            <pc:sldMk cId="1886033768" sldId="2431"/>
            <ac:spMk id="15" creationId="{7C0FDFED-796C-476D-8948-832FEBB3826E}"/>
          </ac:spMkLst>
        </pc:spChg>
        <pc:spChg chg="del mod">
          <ac:chgData name="Il Ak" userId="75b527419af0622e" providerId="LiveId" clId="{4975F73D-B62C-41FB-AA0B-311A4A8C5DD3}" dt="2020-01-24T12:34:01.335" v="3297" actId="478"/>
          <ac:spMkLst>
            <pc:docMk/>
            <pc:sldMk cId="1886033768" sldId="2431"/>
            <ac:spMk id="22" creationId="{2595E8C3-B97A-4A35-96E2-3C5AF6E220FC}"/>
          </ac:spMkLst>
        </pc:spChg>
        <pc:spChg chg="add mod">
          <ac:chgData name="Il Ak" userId="75b527419af0622e" providerId="LiveId" clId="{4975F73D-B62C-41FB-AA0B-311A4A8C5DD3}" dt="2020-01-24T12:34:16.104" v="3334" actId="1037"/>
          <ac:spMkLst>
            <pc:docMk/>
            <pc:sldMk cId="1886033768" sldId="2431"/>
            <ac:spMk id="36" creationId="{C73F6D55-E3BC-4516-94AC-C9373B07F990}"/>
          </ac:spMkLst>
        </pc:spChg>
        <pc:spChg chg="add mod">
          <ac:chgData name="Il Ak" userId="75b527419af0622e" providerId="LiveId" clId="{4975F73D-B62C-41FB-AA0B-311A4A8C5DD3}" dt="2020-01-24T12:34:16.104" v="3334" actId="1037"/>
          <ac:spMkLst>
            <pc:docMk/>
            <pc:sldMk cId="1886033768" sldId="2431"/>
            <ac:spMk id="37" creationId="{662A9CB1-DFB2-4141-8D7F-83EFC600201D}"/>
          </ac:spMkLst>
        </pc:spChg>
        <pc:spChg chg="add mod">
          <ac:chgData name="Il Ak" userId="75b527419af0622e" providerId="LiveId" clId="{4975F73D-B62C-41FB-AA0B-311A4A8C5DD3}" dt="2020-01-24T12:34:16.104" v="3334" actId="1037"/>
          <ac:spMkLst>
            <pc:docMk/>
            <pc:sldMk cId="1886033768" sldId="2431"/>
            <ac:spMk id="38" creationId="{78C6AA02-20CF-42B9-890D-E042D6453D2A}"/>
          </ac:spMkLst>
        </pc:spChg>
        <pc:spChg chg="add mod">
          <ac:chgData name="Il Ak" userId="75b527419af0622e" providerId="LiveId" clId="{4975F73D-B62C-41FB-AA0B-311A4A8C5DD3}" dt="2020-01-24T12:34:16.104" v="3334" actId="1037"/>
          <ac:spMkLst>
            <pc:docMk/>
            <pc:sldMk cId="1886033768" sldId="2431"/>
            <ac:spMk id="39" creationId="{E32F1BE1-5AB9-472D-9E67-559707B03854}"/>
          </ac:spMkLst>
        </pc:spChg>
        <pc:grpChg chg="mod">
          <ac:chgData name="Il Ak" userId="75b527419af0622e" providerId="LiveId" clId="{4975F73D-B62C-41FB-AA0B-311A4A8C5DD3}" dt="2020-01-24T12:34:10.021" v="3306" actId="1037"/>
          <ac:grpSpMkLst>
            <pc:docMk/>
            <pc:sldMk cId="1886033768" sldId="2431"/>
            <ac:grpSpMk id="29" creationId="{CF5DB724-46F2-4D5D-A91F-A23BBEB32DAE}"/>
          </ac:grpSpMkLst>
        </pc:grpChg>
        <pc:cxnChg chg="add mod">
          <ac:chgData name="Il Ak" userId="75b527419af0622e" providerId="LiveId" clId="{4975F73D-B62C-41FB-AA0B-311A4A8C5DD3}" dt="2020-01-24T12:34:16.104" v="3334" actId="1037"/>
          <ac:cxnSpMkLst>
            <pc:docMk/>
            <pc:sldMk cId="1886033768" sldId="2431"/>
            <ac:cxnSpMk id="35" creationId="{85C99274-7A1E-43A8-84B8-14BD3A7BCAAF}"/>
          </ac:cxnSpMkLst>
        </pc:cxnChg>
      </pc:sldChg>
      <pc:sldChg chg="modSp">
        <pc:chgData name="Il Ak" userId="75b527419af0622e" providerId="LiveId" clId="{4975F73D-B62C-41FB-AA0B-311A4A8C5DD3}" dt="2020-01-24T10:26:38.299" v="3096" actId="108"/>
        <pc:sldMkLst>
          <pc:docMk/>
          <pc:sldMk cId="3126791665" sldId="2433"/>
        </pc:sldMkLst>
        <pc:spChg chg="mod">
          <ac:chgData name="Il Ak" userId="75b527419af0622e" providerId="LiveId" clId="{4975F73D-B62C-41FB-AA0B-311A4A8C5DD3}" dt="2020-01-24T10:26:38.299" v="3096" actId="108"/>
          <ac:spMkLst>
            <pc:docMk/>
            <pc:sldMk cId="3126791665" sldId="2433"/>
            <ac:spMk id="88" creationId="{33D26D02-2014-4159-B03E-9D01432C096C}"/>
          </ac:spMkLst>
        </pc:spChg>
      </pc:sldChg>
      <pc:sldChg chg="modSp ord">
        <pc:chgData name="Il Ak" userId="75b527419af0622e" providerId="LiveId" clId="{4975F73D-B62C-41FB-AA0B-311A4A8C5DD3}" dt="2020-01-24T12:29:12.031" v="3288"/>
        <pc:sldMkLst>
          <pc:docMk/>
          <pc:sldMk cId="1448222496" sldId="2434"/>
        </pc:sldMkLst>
        <pc:spChg chg="mod">
          <ac:chgData name="Il Ak" userId="75b527419af0622e" providerId="LiveId" clId="{4975F73D-B62C-41FB-AA0B-311A4A8C5DD3}" dt="2020-01-24T10:26:32.029" v="3093" actId="108"/>
          <ac:spMkLst>
            <pc:docMk/>
            <pc:sldMk cId="1448222496" sldId="2434"/>
            <ac:spMk id="46" creationId="{2FA1C979-389F-4934-84DB-F9A16E5EC231}"/>
          </ac:spMkLst>
        </pc:spChg>
      </pc:sldChg>
      <pc:sldChg chg="modSp">
        <pc:chgData name="Il Ak" userId="75b527419af0622e" providerId="LiveId" clId="{4975F73D-B62C-41FB-AA0B-311A4A8C5DD3}" dt="2020-01-24T10:27:07.268" v="3103" actId="108"/>
        <pc:sldMkLst>
          <pc:docMk/>
          <pc:sldMk cId="1384302083" sldId="2435"/>
        </pc:sldMkLst>
        <pc:spChg chg="mod">
          <ac:chgData name="Il Ak" userId="75b527419af0622e" providerId="LiveId" clId="{4975F73D-B62C-41FB-AA0B-311A4A8C5DD3}" dt="2020-01-24T10:27:07.268" v="3103" actId="108"/>
          <ac:spMkLst>
            <pc:docMk/>
            <pc:sldMk cId="1384302083" sldId="2435"/>
            <ac:spMk id="239" creationId="{99CEABAD-68C4-4BD6-B465-AE96256D848B}"/>
          </ac:spMkLst>
        </pc:spChg>
      </pc:sldChg>
      <pc:sldChg chg="addSp delSp modSp">
        <pc:chgData name="Il Ak" userId="75b527419af0622e" providerId="LiveId" clId="{4975F73D-B62C-41FB-AA0B-311A4A8C5DD3}" dt="2020-01-24T09:46:14.083" v="63" actId="14100"/>
        <pc:sldMkLst>
          <pc:docMk/>
          <pc:sldMk cId="567741569" sldId="2436"/>
        </pc:sldMkLst>
        <pc:spChg chg="mod">
          <ac:chgData name="Il Ak" userId="75b527419af0622e" providerId="LiveId" clId="{4975F73D-B62C-41FB-AA0B-311A4A8C5DD3}" dt="2020-01-24T09:46:04.941" v="61" actId="1035"/>
          <ac:spMkLst>
            <pc:docMk/>
            <pc:sldMk cId="567741569" sldId="2436"/>
            <ac:spMk id="29" creationId="{86270DBB-A1AE-4D66-A7F8-7028C53B64F0}"/>
          </ac:spMkLst>
        </pc:spChg>
        <pc:spChg chg="del">
          <ac:chgData name="Il Ak" userId="75b527419af0622e" providerId="LiveId" clId="{4975F73D-B62C-41FB-AA0B-311A4A8C5DD3}" dt="2020-01-24T09:46:10.649" v="62" actId="478"/>
          <ac:spMkLst>
            <pc:docMk/>
            <pc:sldMk cId="567741569" sldId="2436"/>
            <ac:spMk id="36" creationId="{0D559500-5B45-4DFD-B206-995B3766F321}"/>
          </ac:spMkLst>
        </pc:spChg>
        <pc:spChg chg="mod">
          <ac:chgData name="Il Ak" userId="75b527419af0622e" providerId="LiveId" clId="{4975F73D-B62C-41FB-AA0B-311A4A8C5DD3}" dt="2020-01-24T09:46:14.083" v="63" actId="14100"/>
          <ac:spMkLst>
            <pc:docMk/>
            <pc:sldMk cId="567741569" sldId="2436"/>
            <ac:spMk id="45" creationId="{B25E0215-32CA-4200-B3FB-2560A61481EB}"/>
          </ac:spMkLst>
        </pc:spChg>
        <pc:grpChg chg="add mod">
          <ac:chgData name="Il Ak" userId="75b527419af0622e" providerId="LiveId" clId="{4975F73D-B62C-41FB-AA0B-311A4A8C5DD3}" dt="2020-01-24T09:46:04.941" v="61" actId="1035"/>
          <ac:grpSpMkLst>
            <pc:docMk/>
            <pc:sldMk cId="567741569" sldId="2436"/>
            <ac:grpSpMk id="10" creationId="{DD055EDE-4F1A-453B-84AA-AE82D7F4E79B}"/>
          </ac:grpSpMkLst>
        </pc:grpChg>
        <pc:grpChg chg="mod">
          <ac:chgData name="Il Ak" userId="75b527419af0622e" providerId="LiveId" clId="{4975F73D-B62C-41FB-AA0B-311A4A8C5DD3}" dt="2020-01-24T09:45:54.222" v="43" actId="164"/>
          <ac:grpSpMkLst>
            <pc:docMk/>
            <pc:sldMk cId="567741569" sldId="2436"/>
            <ac:grpSpMk id="17" creationId="{3820D69C-BF7A-45B0-9918-1DAC31716BC0}"/>
          </ac:grpSpMkLst>
        </pc:grpChg>
        <pc:graphicFrameChg chg="modGraphic">
          <ac:chgData name="Il Ak" userId="75b527419af0622e" providerId="LiveId" clId="{4975F73D-B62C-41FB-AA0B-311A4A8C5DD3}" dt="2020-01-24T09:43:16.672" v="0" actId="403"/>
          <ac:graphicFrameMkLst>
            <pc:docMk/>
            <pc:sldMk cId="567741569" sldId="2436"/>
            <ac:graphicFrameMk id="70" creationId="{32D2894F-CD8F-4BED-B8C2-2CB0F3A338CA}"/>
          </ac:graphicFrameMkLst>
        </pc:graphicFrameChg>
        <pc:graphicFrameChg chg="mod modGraphic">
          <ac:chgData name="Il Ak" userId="75b527419af0622e" providerId="LiveId" clId="{4975F73D-B62C-41FB-AA0B-311A4A8C5DD3}" dt="2020-01-24T09:46:04.941" v="61" actId="1035"/>
          <ac:graphicFrameMkLst>
            <pc:docMk/>
            <pc:sldMk cId="567741569" sldId="2436"/>
            <ac:graphicFrameMk id="75" creationId="{FD18FBC1-2EB6-4DD4-B420-B786E21BEE4D}"/>
          </ac:graphicFrameMkLst>
        </pc:graphicFrameChg>
        <pc:cxnChg chg="mod">
          <ac:chgData name="Il Ak" userId="75b527419af0622e" providerId="LiveId" clId="{4975F73D-B62C-41FB-AA0B-311A4A8C5DD3}" dt="2020-01-24T09:43:30.001" v="2" actId="14100"/>
          <ac:cxnSpMkLst>
            <pc:docMk/>
            <pc:sldMk cId="567741569" sldId="2436"/>
            <ac:cxnSpMk id="100" creationId="{87321ABD-A4A3-4786-9E93-D6C4312A3456}"/>
          </ac:cxnSpMkLst>
        </pc:cxnChg>
        <pc:cxnChg chg="mod">
          <ac:chgData name="Il Ak" userId="75b527419af0622e" providerId="LiveId" clId="{4975F73D-B62C-41FB-AA0B-311A4A8C5DD3}" dt="2020-01-24T09:45:54.222" v="43" actId="164"/>
          <ac:cxnSpMkLst>
            <pc:docMk/>
            <pc:sldMk cId="567741569" sldId="2436"/>
            <ac:cxnSpMk id="101" creationId="{F87CF3D2-A21E-4BD9-9032-B185BC5E4B6E}"/>
          </ac:cxnSpMkLst>
        </pc:cxnChg>
        <pc:cxnChg chg="mod">
          <ac:chgData name="Il Ak" userId="75b527419af0622e" providerId="LiveId" clId="{4975F73D-B62C-41FB-AA0B-311A4A8C5DD3}" dt="2020-01-24T09:45:54.222" v="43" actId="164"/>
          <ac:cxnSpMkLst>
            <pc:docMk/>
            <pc:sldMk cId="567741569" sldId="2436"/>
            <ac:cxnSpMk id="102" creationId="{65D1329F-649B-4562-B4AF-CFBA17A9202E}"/>
          </ac:cxnSpMkLst>
        </pc:cxnChg>
      </pc:sldChg>
      <pc:sldChg chg="modSp">
        <pc:chgData name="Il Ak" userId="75b527419af0622e" providerId="LiveId" clId="{4975F73D-B62C-41FB-AA0B-311A4A8C5DD3}" dt="2020-01-24T10:32:11.191" v="3108" actId="108"/>
        <pc:sldMkLst>
          <pc:docMk/>
          <pc:sldMk cId="1437909176" sldId="2438"/>
        </pc:sldMkLst>
        <pc:spChg chg="mod">
          <ac:chgData name="Il Ak" userId="75b527419af0622e" providerId="LiveId" clId="{4975F73D-B62C-41FB-AA0B-311A4A8C5DD3}" dt="2020-01-24T10:32:11.191" v="3108" actId="108"/>
          <ac:spMkLst>
            <pc:docMk/>
            <pc:sldMk cId="1437909176" sldId="2438"/>
            <ac:spMk id="21" creationId="{39868D98-0E55-471D-AC46-91EC8C622F9A}"/>
          </ac:spMkLst>
        </pc:spChg>
      </pc:sldChg>
      <pc:sldChg chg="modSp">
        <pc:chgData name="Il Ak" userId="75b527419af0622e" providerId="LiveId" clId="{4975F73D-B62C-41FB-AA0B-311A4A8C5DD3}" dt="2020-01-24T10:26:48.602" v="3097" actId="108"/>
        <pc:sldMkLst>
          <pc:docMk/>
          <pc:sldMk cId="3548851013" sldId="2442"/>
        </pc:sldMkLst>
        <pc:spChg chg="mod">
          <ac:chgData name="Il Ak" userId="75b527419af0622e" providerId="LiveId" clId="{4975F73D-B62C-41FB-AA0B-311A4A8C5DD3}" dt="2020-01-24T10:26:48.602" v="3097" actId="108"/>
          <ac:spMkLst>
            <pc:docMk/>
            <pc:sldMk cId="3548851013" sldId="2442"/>
            <ac:spMk id="65" creationId="{DD1C99AD-0329-483F-AB8F-F35F5DB01ABA}"/>
          </ac:spMkLst>
        </pc:spChg>
      </pc:sldChg>
      <pc:sldChg chg="addSp delSp modSp add del">
        <pc:chgData name="Il Ak" userId="75b527419af0622e" providerId="LiveId" clId="{4975F73D-B62C-41FB-AA0B-311A4A8C5DD3}" dt="2020-01-24T10:20:26.996" v="1604" actId="555"/>
        <pc:sldMkLst>
          <pc:docMk/>
          <pc:sldMk cId="1347694605" sldId="2444"/>
        </pc:sldMkLst>
        <pc:spChg chg="mod ord">
          <ac:chgData name="Il Ak" userId="75b527419af0622e" providerId="LiveId" clId="{4975F73D-B62C-41FB-AA0B-311A4A8C5DD3}" dt="2020-01-24T10:20:18.943" v="1548"/>
          <ac:spMkLst>
            <pc:docMk/>
            <pc:sldMk cId="1347694605" sldId="2444"/>
            <ac:spMk id="2" creationId="{81C25A56-D354-4D84-8B0E-FCBC5ACBDEEA}"/>
          </ac:spMkLst>
        </pc:spChg>
        <pc:spChg chg="mod ord">
          <ac:chgData name="Il Ak" userId="75b527419af0622e" providerId="LiveId" clId="{4975F73D-B62C-41FB-AA0B-311A4A8C5DD3}" dt="2020-01-24T10:20:18.940" v="1544"/>
          <ac:spMkLst>
            <pc:docMk/>
            <pc:sldMk cId="1347694605" sldId="2444"/>
            <ac:spMk id="5" creationId="{F50DAC38-D7A5-4E9B-9A7E-8CB6647B2F26}"/>
          </ac:spMkLst>
        </pc:spChg>
        <pc:spChg chg="mod ord">
          <ac:chgData name="Il Ak" userId="75b527419af0622e" providerId="LiveId" clId="{4975F73D-B62C-41FB-AA0B-311A4A8C5DD3}" dt="2020-01-24T10:20:18.939" v="1542"/>
          <ac:spMkLst>
            <pc:docMk/>
            <pc:sldMk cId="1347694605" sldId="2444"/>
            <ac:spMk id="6" creationId="{33CC6592-AA49-450A-9312-8F655356AD82}"/>
          </ac:spMkLst>
        </pc:spChg>
        <pc:spChg chg="mod ord">
          <ac:chgData name="Il Ak" userId="75b527419af0622e" providerId="LiveId" clId="{4975F73D-B62C-41FB-AA0B-311A4A8C5DD3}" dt="2020-01-24T10:20:18.978" v="1598"/>
          <ac:spMkLst>
            <pc:docMk/>
            <pc:sldMk cId="1347694605" sldId="2444"/>
            <ac:spMk id="7" creationId="{1BA30B67-6DB4-4D07-A9FF-FBD7C97F14BE}"/>
          </ac:spMkLst>
        </pc:spChg>
        <pc:spChg chg="del">
          <ac:chgData name="Il Ak" userId="75b527419af0622e" providerId="LiveId" clId="{4975F73D-B62C-41FB-AA0B-311A4A8C5DD3}" dt="2020-01-24T10:15:40.931" v="919" actId="478"/>
          <ac:spMkLst>
            <pc:docMk/>
            <pc:sldMk cId="1347694605" sldId="2444"/>
            <ac:spMk id="8" creationId="{E51326B2-B148-4AF8-8F9D-0F0BF795C898}"/>
          </ac:spMkLst>
        </pc:spChg>
        <pc:spChg chg="mod">
          <ac:chgData name="Il Ak" userId="75b527419af0622e" providerId="LiveId" clId="{4975F73D-B62C-41FB-AA0B-311A4A8C5DD3}" dt="2020-01-24T10:20:18.951" v="1558"/>
          <ac:spMkLst>
            <pc:docMk/>
            <pc:sldMk cId="1347694605" sldId="2444"/>
            <ac:spMk id="10" creationId="{C9E189C0-49EE-4C2A-B39A-52965F0ED197}"/>
          </ac:spMkLst>
        </pc:spChg>
        <pc:spChg chg="mod ord">
          <ac:chgData name="Il Ak" userId="75b527419af0622e" providerId="LiveId" clId="{4975F73D-B62C-41FB-AA0B-311A4A8C5DD3}" dt="2020-01-24T10:20:18.942" v="1546"/>
          <ac:spMkLst>
            <pc:docMk/>
            <pc:sldMk cId="1347694605" sldId="2444"/>
            <ac:spMk id="14" creationId="{8CA539A7-D2B9-401C-AB0A-B684B1B7A9C5}"/>
          </ac:spMkLst>
        </pc:spChg>
        <pc:spChg chg="mod">
          <ac:chgData name="Il Ak" userId="75b527419af0622e" providerId="LiveId" clId="{4975F73D-B62C-41FB-AA0B-311A4A8C5DD3}" dt="2020-01-24T10:20:18.952" v="1559"/>
          <ac:spMkLst>
            <pc:docMk/>
            <pc:sldMk cId="1347694605" sldId="2444"/>
            <ac:spMk id="19" creationId="{7286CF0D-D11F-4DE5-8D1F-86816F6C693F}"/>
          </ac:spMkLst>
        </pc:spChg>
        <pc:spChg chg="mod">
          <ac:chgData name="Il Ak" userId="75b527419af0622e" providerId="LiveId" clId="{4975F73D-B62C-41FB-AA0B-311A4A8C5DD3}" dt="2020-01-24T10:20:18.951" v="1557"/>
          <ac:spMkLst>
            <pc:docMk/>
            <pc:sldMk cId="1347694605" sldId="2444"/>
            <ac:spMk id="20" creationId="{339F5456-6688-4901-99F8-8518409A0D79}"/>
          </ac:spMkLst>
        </pc:spChg>
        <pc:spChg chg="mod">
          <ac:chgData name="Il Ak" userId="75b527419af0622e" providerId="LiveId" clId="{4975F73D-B62C-41FB-AA0B-311A4A8C5DD3}" dt="2020-01-24T10:20:18.953" v="1560"/>
          <ac:spMkLst>
            <pc:docMk/>
            <pc:sldMk cId="1347694605" sldId="2444"/>
            <ac:spMk id="27" creationId="{5FBB69E6-3A9F-45EF-9263-E3AC5BC31C2D}"/>
          </ac:spMkLst>
        </pc:spChg>
        <pc:spChg chg="mod ord">
          <ac:chgData name="Il Ak" userId="75b527419af0622e" providerId="LiveId" clId="{4975F73D-B62C-41FB-AA0B-311A4A8C5DD3}" dt="2020-01-24T10:20:26.996" v="1604" actId="555"/>
          <ac:spMkLst>
            <pc:docMk/>
            <pc:sldMk cId="1347694605" sldId="2444"/>
            <ac:spMk id="37" creationId="{8E1A6372-A94E-43DD-B2DC-BD59C89474E8}"/>
          </ac:spMkLst>
        </pc:spChg>
        <pc:spChg chg="mod">
          <ac:chgData name="Il Ak" userId="75b527419af0622e" providerId="LiveId" clId="{4975F73D-B62C-41FB-AA0B-311A4A8C5DD3}" dt="2020-01-24T10:20:18.963" v="1576"/>
          <ac:spMkLst>
            <pc:docMk/>
            <pc:sldMk cId="1347694605" sldId="2444"/>
            <ac:spMk id="41" creationId="{1B6B692A-4408-4821-889D-DE809599C6CC}"/>
          </ac:spMkLst>
        </pc:spChg>
        <pc:spChg chg="mod">
          <ac:chgData name="Il Ak" userId="75b527419af0622e" providerId="LiveId" clId="{4975F73D-B62C-41FB-AA0B-311A4A8C5DD3}" dt="2020-01-24T10:20:18.962" v="1575"/>
          <ac:spMkLst>
            <pc:docMk/>
            <pc:sldMk cId="1347694605" sldId="2444"/>
            <ac:spMk id="42" creationId="{209CB0FE-1070-4185-AE16-5FE5E9CB468A}"/>
          </ac:spMkLst>
        </pc:spChg>
        <pc:spChg chg="mod">
          <ac:chgData name="Il Ak" userId="75b527419af0622e" providerId="LiveId" clId="{4975F73D-B62C-41FB-AA0B-311A4A8C5DD3}" dt="2020-01-24T10:20:18.961" v="1574"/>
          <ac:spMkLst>
            <pc:docMk/>
            <pc:sldMk cId="1347694605" sldId="2444"/>
            <ac:spMk id="44" creationId="{A0331CBB-8988-4909-839F-B5FDB7C62BE9}"/>
          </ac:spMkLst>
        </pc:spChg>
        <pc:spChg chg="mod">
          <ac:chgData name="Il Ak" userId="75b527419af0622e" providerId="LiveId" clId="{4975F73D-B62C-41FB-AA0B-311A4A8C5DD3}" dt="2020-01-24T10:20:18.961" v="1573"/>
          <ac:spMkLst>
            <pc:docMk/>
            <pc:sldMk cId="1347694605" sldId="2444"/>
            <ac:spMk id="45" creationId="{E6FF713E-8C89-4FAB-8425-C6A502545CFF}"/>
          </ac:spMkLst>
        </pc:spChg>
        <pc:spChg chg="mod">
          <ac:chgData name="Il Ak" userId="75b527419af0622e" providerId="LiveId" clId="{4975F73D-B62C-41FB-AA0B-311A4A8C5DD3}" dt="2020-01-24T10:20:18.973" v="1591"/>
          <ac:spMkLst>
            <pc:docMk/>
            <pc:sldMk cId="1347694605" sldId="2444"/>
            <ac:spMk id="51" creationId="{6293BF28-8A6B-4183-9A9D-C9EFC84A4B83}"/>
          </ac:spMkLst>
        </pc:spChg>
        <pc:spChg chg="mod ord">
          <ac:chgData name="Il Ak" userId="75b527419af0622e" providerId="LiveId" clId="{4975F73D-B62C-41FB-AA0B-311A4A8C5DD3}" dt="2020-01-24T10:20:18.966" v="1580"/>
          <ac:spMkLst>
            <pc:docMk/>
            <pc:sldMk cId="1347694605" sldId="2444"/>
            <ac:spMk id="53" creationId="{0C05A879-CBDC-4376-9818-4AD568C81767}"/>
          </ac:spMkLst>
        </pc:spChg>
        <pc:spChg chg="mod">
          <ac:chgData name="Il Ak" userId="75b527419af0622e" providerId="LiveId" clId="{4975F73D-B62C-41FB-AA0B-311A4A8C5DD3}" dt="2020-01-24T10:20:18.972" v="1590"/>
          <ac:spMkLst>
            <pc:docMk/>
            <pc:sldMk cId="1347694605" sldId="2444"/>
            <ac:spMk id="56" creationId="{666B3558-9AC3-47D6-AACC-813F04DFC511}"/>
          </ac:spMkLst>
        </pc:spChg>
        <pc:spChg chg="mod">
          <ac:chgData name="Il Ak" userId="75b527419af0622e" providerId="LiveId" clId="{4975F73D-B62C-41FB-AA0B-311A4A8C5DD3}" dt="2020-01-24T10:20:18.972" v="1589"/>
          <ac:spMkLst>
            <pc:docMk/>
            <pc:sldMk cId="1347694605" sldId="2444"/>
            <ac:spMk id="57" creationId="{0128DEA3-1486-43CE-BE7A-C14E441D033D}"/>
          </ac:spMkLst>
        </pc:spChg>
        <pc:spChg chg="mod">
          <ac:chgData name="Il Ak" userId="75b527419af0622e" providerId="LiveId" clId="{4975F73D-B62C-41FB-AA0B-311A4A8C5DD3}" dt="2020-01-24T10:20:18.974" v="1592"/>
          <ac:spMkLst>
            <pc:docMk/>
            <pc:sldMk cId="1347694605" sldId="2444"/>
            <ac:spMk id="62" creationId="{ED1AE012-C764-4FC4-906A-BA8FE09EACDD}"/>
          </ac:spMkLst>
        </pc:spChg>
        <pc:spChg chg="mod ord">
          <ac:chgData name="Il Ak" userId="75b527419af0622e" providerId="LiveId" clId="{4975F73D-B62C-41FB-AA0B-311A4A8C5DD3}" dt="2020-01-24T10:20:18.965" v="1578"/>
          <ac:spMkLst>
            <pc:docMk/>
            <pc:sldMk cId="1347694605" sldId="2444"/>
            <ac:spMk id="69" creationId="{8E7BB20D-0DD5-4CD2-B8C1-A27B3C5AE57F}"/>
          </ac:spMkLst>
        </pc:spChg>
        <pc:spChg chg="mod ord">
          <ac:chgData name="Il Ak" userId="75b527419af0622e" providerId="LiveId" clId="{4975F73D-B62C-41FB-AA0B-311A4A8C5DD3}" dt="2020-01-24T10:20:18.954" v="1562"/>
          <ac:spMkLst>
            <pc:docMk/>
            <pc:sldMk cId="1347694605" sldId="2444"/>
            <ac:spMk id="71" creationId="{0890D503-F3D0-402D-A916-442A380609A7}"/>
          </ac:spMkLst>
        </pc:spChg>
        <pc:spChg chg="mod ord">
          <ac:chgData name="Il Ak" userId="75b527419af0622e" providerId="LiveId" clId="{4975F73D-B62C-41FB-AA0B-311A4A8C5DD3}" dt="2020-01-24T10:20:18.976" v="1594"/>
          <ac:spMkLst>
            <pc:docMk/>
            <pc:sldMk cId="1347694605" sldId="2444"/>
            <ac:spMk id="73" creationId="{9015E93B-089C-4705-B726-A9A26A4CA281}"/>
          </ac:spMkLst>
        </pc:spChg>
        <pc:spChg chg="add del">
          <ac:chgData name="Il Ak" userId="75b527419af0622e" providerId="LiveId" clId="{4975F73D-B62C-41FB-AA0B-311A4A8C5DD3}" dt="2020-01-24T10:15:44.456" v="928"/>
          <ac:spMkLst>
            <pc:docMk/>
            <pc:sldMk cId="1347694605" sldId="2444"/>
            <ac:spMk id="91" creationId="{C011E942-A37A-4636-B566-64FEAA9D1491}"/>
          </ac:spMkLst>
        </pc:spChg>
        <pc:spChg chg="mod ord">
          <ac:chgData name="Il Ak" userId="75b527419af0622e" providerId="LiveId" clId="{4975F73D-B62C-41FB-AA0B-311A4A8C5DD3}" dt="2020-01-24T10:20:18.977" v="1596"/>
          <ac:spMkLst>
            <pc:docMk/>
            <pc:sldMk cId="1347694605" sldId="2444"/>
            <ac:spMk id="102" creationId="{68760620-F5CD-4FEB-8774-0996933063BD}"/>
          </ac:spMkLst>
        </pc:spChg>
        <pc:spChg chg="add del">
          <ac:chgData name="Il Ak" userId="75b527419af0622e" providerId="LiveId" clId="{4975F73D-B62C-41FB-AA0B-311A4A8C5DD3}" dt="2020-01-24T10:15:44.453" v="924"/>
          <ac:spMkLst>
            <pc:docMk/>
            <pc:sldMk cId="1347694605" sldId="2444"/>
            <ac:spMk id="125" creationId="{8AAE50AE-82CE-43D8-888D-3EB8C5C74329}"/>
          </ac:spMkLst>
        </pc:spChg>
        <pc:spChg chg="add del">
          <ac:chgData name="Il Ak" userId="75b527419af0622e" providerId="LiveId" clId="{4975F73D-B62C-41FB-AA0B-311A4A8C5DD3}" dt="2020-01-24T10:15:44.452" v="923"/>
          <ac:spMkLst>
            <pc:docMk/>
            <pc:sldMk cId="1347694605" sldId="2444"/>
            <ac:spMk id="126" creationId="{AD8782AB-35B9-43B8-81F0-CAC04148A943}"/>
          </ac:spMkLst>
        </pc:spChg>
        <pc:spChg chg="add del">
          <ac:chgData name="Il Ak" userId="75b527419af0622e" providerId="LiveId" clId="{4975F73D-B62C-41FB-AA0B-311A4A8C5DD3}" dt="2020-01-24T10:15:44.451" v="922"/>
          <ac:spMkLst>
            <pc:docMk/>
            <pc:sldMk cId="1347694605" sldId="2444"/>
            <ac:spMk id="129" creationId="{BA3F4C43-0C25-4F87-A2D6-48518D8C3AE6}"/>
          </ac:spMkLst>
        </pc:spChg>
        <pc:spChg chg="add del">
          <ac:chgData name="Il Ak" userId="75b527419af0622e" providerId="LiveId" clId="{4975F73D-B62C-41FB-AA0B-311A4A8C5DD3}" dt="2020-01-24T10:15:44.451" v="921"/>
          <ac:spMkLst>
            <pc:docMk/>
            <pc:sldMk cId="1347694605" sldId="2444"/>
            <ac:spMk id="145" creationId="{457F82CC-EFD6-47CC-AE5A-E2A98A277775}"/>
          </ac:spMkLst>
        </pc:spChg>
        <pc:spChg chg="add del">
          <ac:chgData name="Il Ak" userId="75b527419af0622e" providerId="LiveId" clId="{4975F73D-B62C-41FB-AA0B-311A4A8C5DD3}" dt="2020-01-24T10:15:44.450" v="920"/>
          <ac:spMkLst>
            <pc:docMk/>
            <pc:sldMk cId="1347694605" sldId="2444"/>
            <ac:spMk id="146" creationId="{AB70088E-3C1D-4766-97F6-6566E7B4CCD9}"/>
          </ac:spMkLst>
        </pc:spChg>
        <pc:graphicFrameChg chg="add del mod ord">
          <ac:chgData name="Il Ak" userId="75b527419af0622e" providerId="LiveId" clId="{4975F73D-B62C-41FB-AA0B-311A4A8C5DD3}" dt="2020-01-24T10:20:17.801" v="1294"/>
          <ac:graphicFrameMkLst>
            <pc:docMk/>
            <pc:sldMk cId="1347694605" sldId="2444"/>
            <ac:graphicFrameMk id="47" creationId="{4D74AF9B-3552-4477-AD10-0D6BD7BFAE44}"/>
          </ac:graphicFrameMkLst>
        </pc:graphicFrameChg>
        <pc:graphicFrameChg chg="add del mod ord">
          <ac:chgData name="Il Ak" userId="75b527419af0622e" providerId="LiveId" clId="{4975F73D-B62C-41FB-AA0B-311A4A8C5DD3}" dt="2020-01-24T10:20:17.834" v="1325"/>
          <ac:graphicFrameMkLst>
            <pc:docMk/>
            <pc:sldMk cId="1347694605" sldId="2444"/>
            <ac:graphicFrameMk id="48" creationId="{7A32DFCA-A9F6-432E-BC76-1DA895E557D7}"/>
          </ac:graphicFrameMkLst>
        </pc:graphicFrameChg>
        <pc:graphicFrameChg chg="add del mod ord">
          <ac:chgData name="Il Ak" userId="75b527419af0622e" providerId="LiveId" clId="{4975F73D-B62C-41FB-AA0B-311A4A8C5DD3}" dt="2020-01-24T10:20:17.862" v="1356"/>
          <ac:graphicFrameMkLst>
            <pc:docMk/>
            <pc:sldMk cId="1347694605" sldId="2444"/>
            <ac:graphicFrameMk id="49" creationId="{14BB196C-FA1C-42F1-9AF0-0100F3575A2D}"/>
          </ac:graphicFrameMkLst>
        </pc:graphicFrameChg>
        <pc:graphicFrameChg chg="add del mod ord">
          <ac:chgData name="Il Ak" userId="75b527419af0622e" providerId="LiveId" clId="{4975F73D-B62C-41FB-AA0B-311A4A8C5DD3}" dt="2020-01-24T10:20:18.835" v="1461"/>
          <ac:graphicFrameMkLst>
            <pc:docMk/>
            <pc:sldMk cId="1347694605" sldId="2444"/>
            <ac:graphicFrameMk id="50" creationId="{95E9DE74-8112-4548-BE16-42EC19B218A7}"/>
          </ac:graphicFrameMkLst>
        </pc:graphicFrameChg>
        <pc:graphicFrameChg chg="add del mod ord">
          <ac:chgData name="Il Ak" userId="75b527419af0622e" providerId="LiveId" clId="{4975F73D-B62C-41FB-AA0B-311A4A8C5DD3}" dt="2020-01-24T10:20:18.869" v="1492"/>
          <ac:graphicFrameMkLst>
            <pc:docMk/>
            <pc:sldMk cId="1347694605" sldId="2444"/>
            <ac:graphicFrameMk id="52" creationId="{B8B4958F-DFAF-4574-9518-B55FFAA358FA}"/>
          </ac:graphicFrameMkLst>
        </pc:graphicFrameChg>
        <pc:graphicFrameChg chg="add del mod ord">
          <ac:chgData name="Il Ak" userId="75b527419af0622e" providerId="LiveId" clId="{4975F73D-B62C-41FB-AA0B-311A4A8C5DD3}" dt="2020-01-24T10:20:18.909" v="1523"/>
          <ac:graphicFrameMkLst>
            <pc:docMk/>
            <pc:sldMk cId="1347694605" sldId="2444"/>
            <ac:graphicFrameMk id="54" creationId="{B5D3C9BE-FDDB-470B-85C9-6A6F8D6256C9}"/>
          </ac:graphicFrameMkLst>
        </pc:graphicFrameChg>
        <pc:graphicFrameChg chg="add mod ord">
          <ac:chgData name="Il Ak" userId="75b527419af0622e" providerId="LiveId" clId="{4975F73D-B62C-41FB-AA0B-311A4A8C5DD3}" dt="2020-01-24T10:20:18.945" v="1550"/>
          <ac:graphicFrameMkLst>
            <pc:docMk/>
            <pc:sldMk cId="1347694605" sldId="2444"/>
            <ac:graphicFrameMk id="55" creationId="{52CC8868-6B19-495C-AE67-D4A73148D863}"/>
          </ac:graphicFrameMkLst>
        </pc:graphicFrameChg>
        <pc:graphicFrameChg chg="add mod ord">
          <ac:chgData name="Il Ak" userId="75b527419af0622e" providerId="LiveId" clId="{4975F73D-B62C-41FB-AA0B-311A4A8C5DD3}" dt="2020-01-24T10:20:18.956" v="1566"/>
          <ac:graphicFrameMkLst>
            <pc:docMk/>
            <pc:sldMk cId="1347694605" sldId="2444"/>
            <ac:graphicFrameMk id="58" creationId="{32F7A472-3AFE-4B77-8544-EAEB6E1BC2E9}"/>
          </ac:graphicFrameMkLst>
        </pc:graphicFrameChg>
        <pc:graphicFrameChg chg="add mod ord">
          <ac:chgData name="Il Ak" userId="75b527419af0622e" providerId="LiveId" clId="{4975F73D-B62C-41FB-AA0B-311A4A8C5DD3}" dt="2020-01-24T10:20:18.967" v="1582"/>
          <ac:graphicFrameMkLst>
            <pc:docMk/>
            <pc:sldMk cId="1347694605" sldId="2444"/>
            <ac:graphicFrameMk id="59" creationId="{949B992A-462A-49DA-BD2D-5DF591C09E69}"/>
          </ac:graphicFrameMkLst>
        </pc:graphicFrameChg>
        <pc:graphicFrameChg chg="add del">
          <ac:chgData name="Il Ak" userId="75b527419af0622e" providerId="LiveId" clId="{4975F73D-B62C-41FB-AA0B-311A4A8C5DD3}" dt="2020-01-24T10:15:44.454" v="926"/>
          <ac:graphicFrameMkLst>
            <pc:docMk/>
            <pc:sldMk cId="1347694605" sldId="2444"/>
            <ac:graphicFrameMk id="89" creationId="{F380A0FA-ABC1-46AA-9EC4-3D797D5A1059}"/>
          </ac:graphicFrameMkLst>
        </pc:graphicFrameChg>
        <pc:graphicFrameChg chg="del">
          <ac:chgData name="Il Ak" userId="75b527419af0622e" providerId="LiveId" clId="{4975F73D-B62C-41FB-AA0B-311A4A8C5DD3}" dt="2020-01-24T10:19:46.260" v="1146"/>
          <ac:graphicFrameMkLst>
            <pc:docMk/>
            <pc:sldMk cId="1347694605" sldId="2444"/>
            <ac:graphicFrameMk id="92" creationId="{F718BC43-01D8-497F-B540-EBAA885218C5}"/>
          </ac:graphicFrameMkLst>
        </pc:graphicFrameChg>
        <pc:graphicFrameChg chg="del">
          <ac:chgData name="Il Ak" userId="75b527419af0622e" providerId="LiveId" clId="{4975F73D-B62C-41FB-AA0B-311A4A8C5DD3}" dt="2020-01-24T10:19:46.211" v="1110"/>
          <ac:graphicFrameMkLst>
            <pc:docMk/>
            <pc:sldMk cId="1347694605" sldId="2444"/>
            <ac:graphicFrameMk id="93" creationId="{B349AC17-754C-46BA-AF81-BEEE74A94D49}"/>
          </ac:graphicFrameMkLst>
        </pc:graphicFrameChg>
        <pc:graphicFrameChg chg="del">
          <ac:chgData name="Il Ak" userId="75b527419af0622e" providerId="LiveId" clId="{4975F73D-B62C-41FB-AA0B-311A4A8C5DD3}" dt="2020-01-24T10:19:46.312" v="1182"/>
          <ac:graphicFrameMkLst>
            <pc:docMk/>
            <pc:sldMk cId="1347694605" sldId="2444"/>
            <ac:graphicFrameMk id="94" creationId="{F725DF85-DF26-4F3B-8434-067485EB063A}"/>
          </ac:graphicFrameMkLst>
        </pc:graphicFrameChg>
        <pc:graphicFrameChg chg="mod ord">
          <ac:chgData name="Il Ak" userId="75b527419af0622e" providerId="LiveId" clId="{4975F73D-B62C-41FB-AA0B-311A4A8C5DD3}" dt="2020-01-24T10:20:18.985" v="1602"/>
          <ac:graphicFrameMkLst>
            <pc:docMk/>
            <pc:sldMk cId="1347694605" sldId="2444"/>
            <ac:graphicFrameMk id="7170" creationId="{BE174EA5-253C-41DB-9C13-59D2D3D0449E}"/>
          </ac:graphicFrameMkLst>
        </pc:graphicFrameChg>
        <pc:cxnChg chg="mod ord">
          <ac:chgData name="Il Ak" userId="75b527419af0622e" providerId="LiveId" clId="{4975F73D-B62C-41FB-AA0B-311A4A8C5DD3}" dt="2020-01-24T10:20:26.996" v="1604" actId="555"/>
          <ac:cxnSpMkLst>
            <pc:docMk/>
            <pc:sldMk cId="1347694605" sldId="2444"/>
            <ac:cxnSpMk id="11" creationId="{6278ED76-78ED-404C-9D7E-3BE747BD98D4}"/>
          </ac:cxnSpMkLst>
        </pc:cxnChg>
        <pc:cxnChg chg="mod ord">
          <ac:chgData name="Il Ak" userId="75b527419af0622e" providerId="LiveId" clId="{4975F73D-B62C-41FB-AA0B-311A4A8C5DD3}" dt="2020-01-24T10:20:18.959" v="1570"/>
          <ac:cxnSpMkLst>
            <pc:docMk/>
            <pc:sldMk cId="1347694605" sldId="2444"/>
            <ac:cxnSpMk id="12" creationId="{1F756B6B-DDB4-4125-8B0E-928580B1F83F}"/>
          </ac:cxnSpMkLst>
        </pc:cxnChg>
        <pc:cxnChg chg="mod ord">
          <ac:chgData name="Il Ak" userId="75b527419af0622e" providerId="LiveId" clId="{4975F73D-B62C-41FB-AA0B-311A4A8C5DD3}" dt="2020-01-24T10:20:18.960" v="1572"/>
          <ac:cxnSpMkLst>
            <pc:docMk/>
            <pc:sldMk cId="1347694605" sldId="2444"/>
            <ac:cxnSpMk id="13" creationId="{FE78CEC3-01C6-4E5C-A0A0-73247CA57E75}"/>
          </ac:cxnSpMkLst>
        </pc:cxnChg>
        <pc:cxnChg chg="mod ord">
          <ac:chgData name="Il Ak" userId="75b527419af0622e" providerId="LiveId" clId="{4975F73D-B62C-41FB-AA0B-311A4A8C5DD3}" dt="2020-01-24T10:20:18.957" v="1568"/>
          <ac:cxnSpMkLst>
            <pc:docMk/>
            <pc:sldMk cId="1347694605" sldId="2444"/>
            <ac:cxnSpMk id="15" creationId="{321C5D3D-9D45-44CE-B28E-749BB08C82B4}"/>
          </ac:cxnSpMkLst>
        </pc:cxnChg>
        <pc:cxnChg chg="mod ord">
          <ac:chgData name="Il Ak" userId="75b527419af0622e" providerId="LiveId" clId="{4975F73D-B62C-41FB-AA0B-311A4A8C5DD3}" dt="2020-01-24T10:20:18.946" v="1552"/>
          <ac:cxnSpMkLst>
            <pc:docMk/>
            <pc:sldMk cId="1347694605" sldId="2444"/>
            <ac:cxnSpMk id="16" creationId="{CC3B6D47-B881-4BAB-80A9-A7C69A38C71D}"/>
          </ac:cxnSpMkLst>
        </pc:cxnChg>
        <pc:cxnChg chg="mod ord">
          <ac:chgData name="Il Ak" userId="75b527419af0622e" providerId="LiveId" clId="{4975F73D-B62C-41FB-AA0B-311A4A8C5DD3}" dt="2020-01-24T10:20:18.948" v="1554"/>
          <ac:cxnSpMkLst>
            <pc:docMk/>
            <pc:sldMk cId="1347694605" sldId="2444"/>
            <ac:cxnSpMk id="17" creationId="{0990D431-3EC4-44AB-B4D0-80347FCE18A4}"/>
          </ac:cxnSpMkLst>
        </pc:cxnChg>
        <pc:cxnChg chg="mod ord">
          <ac:chgData name="Il Ak" userId="75b527419af0622e" providerId="LiveId" clId="{4975F73D-B62C-41FB-AA0B-311A4A8C5DD3}" dt="2020-01-24T10:20:18.950" v="1556"/>
          <ac:cxnSpMkLst>
            <pc:docMk/>
            <pc:sldMk cId="1347694605" sldId="2444"/>
            <ac:cxnSpMk id="18" creationId="{06350F9C-2A2A-4C8C-B9ED-6F9C00E7427C}"/>
          </ac:cxnSpMkLst>
        </pc:cxnChg>
        <pc:cxnChg chg="mod ord">
          <ac:chgData name="Il Ak" userId="75b527419af0622e" providerId="LiveId" clId="{4975F73D-B62C-41FB-AA0B-311A4A8C5DD3}" dt="2020-01-24T10:20:18.968" v="1584"/>
          <ac:cxnSpMkLst>
            <pc:docMk/>
            <pc:sldMk cId="1347694605" sldId="2444"/>
            <ac:cxnSpMk id="21" creationId="{98295A70-D5B7-4C06-B19D-7789A4F26DF8}"/>
          </ac:cxnSpMkLst>
        </pc:cxnChg>
        <pc:cxnChg chg="mod ord">
          <ac:chgData name="Il Ak" userId="75b527419af0622e" providerId="LiveId" clId="{4975F73D-B62C-41FB-AA0B-311A4A8C5DD3}" dt="2020-01-24T10:20:18.970" v="1586"/>
          <ac:cxnSpMkLst>
            <pc:docMk/>
            <pc:sldMk cId="1347694605" sldId="2444"/>
            <ac:cxnSpMk id="22" creationId="{505D7B41-5F26-4F5F-9235-06EF13932A0A}"/>
          </ac:cxnSpMkLst>
        </pc:cxnChg>
        <pc:cxnChg chg="mod ord">
          <ac:chgData name="Il Ak" userId="75b527419af0622e" providerId="LiveId" clId="{4975F73D-B62C-41FB-AA0B-311A4A8C5DD3}" dt="2020-01-24T10:20:18.971" v="1588"/>
          <ac:cxnSpMkLst>
            <pc:docMk/>
            <pc:sldMk cId="1347694605" sldId="2444"/>
            <ac:cxnSpMk id="23" creationId="{DF831952-A134-494C-953A-9431495A3F70}"/>
          </ac:cxnSpMkLst>
        </pc:cxnChg>
      </pc:sldChg>
      <pc:sldChg chg="modSp">
        <pc:chgData name="Il Ak" userId="75b527419af0622e" providerId="LiveId" clId="{4975F73D-B62C-41FB-AA0B-311A4A8C5DD3}" dt="2020-01-24T10:27:09.307" v="3104" actId="108"/>
        <pc:sldMkLst>
          <pc:docMk/>
          <pc:sldMk cId="2333536481" sldId="2453"/>
        </pc:sldMkLst>
        <pc:spChg chg="mod">
          <ac:chgData name="Il Ak" userId="75b527419af0622e" providerId="LiveId" clId="{4975F73D-B62C-41FB-AA0B-311A4A8C5DD3}" dt="2020-01-24T10:27:09.307" v="3104" actId="108"/>
          <ac:spMkLst>
            <pc:docMk/>
            <pc:sldMk cId="2333536481" sldId="2453"/>
            <ac:spMk id="84" creationId="{1DA9A055-FD2E-48E3-9C9A-0124007CD837}"/>
          </ac:spMkLst>
        </pc:spChg>
      </pc:sldChg>
      <pc:sldChg chg="modSp">
        <pc:chgData name="Il Ak" userId="75b527419af0622e" providerId="LiveId" clId="{4975F73D-B62C-41FB-AA0B-311A4A8C5DD3}" dt="2020-01-24T10:27:02.660" v="3101" actId="108"/>
        <pc:sldMkLst>
          <pc:docMk/>
          <pc:sldMk cId="2726463671" sldId="2454"/>
        </pc:sldMkLst>
        <pc:spChg chg="mod">
          <ac:chgData name="Il Ak" userId="75b527419af0622e" providerId="LiveId" clId="{4975F73D-B62C-41FB-AA0B-311A4A8C5DD3}" dt="2020-01-24T10:27:02.660" v="3101" actId="108"/>
          <ac:spMkLst>
            <pc:docMk/>
            <pc:sldMk cId="2726463671" sldId="2454"/>
            <ac:spMk id="11" creationId="{C2990DF6-C145-47EE-9C4B-10B32D69504C}"/>
          </ac:spMkLst>
        </pc:spChg>
      </pc:sldChg>
      <pc:sldChg chg="addSp delSp modSp">
        <pc:chgData name="Il Ak" userId="75b527419af0622e" providerId="LiveId" clId="{4975F73D-B62C-41FB-AA0B-311A4A8C5DD3}" dt="2020-01-24T10:24:36.687" v="3039"/>
        <pc:sldMkLst>
          <pc:docMk/>
          <pc:sldMk cId="2276289938" sldId="2455"/>
        </pc:sldMkLst>
        <pc:spChg chg="mod ord">
          <ac:chgData name="Il Ak" userId="75b527419af0622e" providerId="LiveId" clId="{4975F73D-B62C-41FB-AA0B-311A4A8C5DD3}" dt="2020-01-24T10:24:36.661" v="2993"/>
          <ac:spMkLst>
            <pc:docMk/>
            <pc:sldMk cId="2276289938" sldId="2455"/>
            <ac:spMk id="5" creationId="{F50DAC38-D7A5-4E9B-9A7E-8CB6647B2F26}"/>
          </ac:spMkLst>
        </pc:spChg>
        <pc:spChg chg="mod ord">
          <ac:chgData name="Il Ak" userId="75b527419af0622e" providerId="LiveId" clId="{4975F73D-B62C-41FB-AA0B-311A4A8C5DD3}" dt="2020-01-24T10:24:36.660" v="2991"/>
          <ac:spMkLst>
            <pc:docMk/>
            <pc:sldMk cId="2276289938" sldId="2455"/>
            <ac:spMk id="6" creationId="{33CC6592-AA49-450A-9312-8F655356AD82}"/>
          </ac:spMkLst>
        </pc:spChg>
        <pc:spChg chg="mod ord">
          <ac:chgData name="Il Ak" userId="75b527419af0622e" providerId="LiveId" clId="{4975F73D-B62C-41FB-AA0B-311A4A8C5DD3}" dt="2020-01-24T10:24:36.662" v="2995"/>
          <ac:spMkLst>
            <pc:docMk/>
            <pc:sldMk cId="2276289938" sldId="2455"/>
            <ac:spMk id="14" creationId="{8CA539A7-D2B9-401C-AB0A-B684B1B7A9C5}"/>
          </ac:spMkLst>
        </pc:spChg>
        <pc:spChg chg="mod">
          <ac:chgData name="Il Ak" userId="75b527419af0622e" providerId="LiveId" clId="{4975F73D-B62C-41FB-AA0B-311A4A8C5DD3}" dt="2020-01-24T10:24:36.668" v="3008"/>
          <ac:spMkLst>
            <pc:docMk/>
            <pc:sldMk cId="2276289938" sldId="2455"/>
            <ac:spMk id="38" creationId="{63B708CD-7993-4FB5-AA40-A3316A6897BD}"/>
          </ac:spMkLst>
        </pc:spChg>
        <pc:spChg chg="mod">
          <ac:chgData name="Il Ak" userId="75b527419af0622e" providerId="LiveId" clId="{4975F73D-B62C-41FB-AA0B-311A4A8C5DD3}" dt="2020-01-24T10:24:36.668" v="3009"/>
          <ac:spMkLst>
            <pc:docMk/>
            <pc:sldMk cId="2276289938" sldId="2455"/>
            <ac:spMk id="39" creationId="{900C5C91-3A75-4DDD-B595-0480F72B642C}"/>
          </ac:spMkLst>
        </pc:spChg>
        <pc:spChg chg="mod">
          <ac:chgData name="Il Ak" userId="75b527419af0622e" providerId="LiveId" clId="{4975F73D-B62C-41FB-AA0B-311A4A8C5DD3}" dt="2020-01-24T10:24:36.670" v="3014"/>
          <ac:spMkLst>
            <pc:docMk/>
            <pc:sldMk cId="2276289938" sldId="2455"/>
            <ac:spMk id="143" creationId="{41D7B74B-6FB4-4521-BE89-FC5EC55CA00F}"/>
          </ac:spMkLst>
        </pc:spChg>
        <pc:spChg chg="mod">
          <ac:chgData name="Il Ak" userId="75b527419af0622e" providerId="LiveId" clId="{4975F73D-B62C-41FB-AA0B-311A4A8C5DD3}" dt="2020-01-24T10:24:36.671" v="3015"/>
          <ac:spMkLst>
            <pc:docMk/>
            <pc:sldMk cId="2276289938" sldId="2455"/>
            <ac:spMk id="144" creationId="{84FD8A00-B01F-4F31-A30C-C8C5123C813F}"/>
          </ac:spMkLst>
        </pc:spChg>
        <pc:spChg chg="mod">
          <ac:chgData name="Il Ak" userId="75b527419af0622e" providerId="LiveId" clId="{4975F73D-B62C-41FB-AA0B-311A4A8C5DD3}" dt="2020-01-24T10:24:36.674" v="3021"/>
          <ac:spMkLst>
            <pc:docMk/>
            <pc:sldMk cId="2276289938" sldId="2455"/>
            <ac:spMk id="196" creationId="{9EA13802-DB31-4098-9D87-EE0976F5E892}"/>
          </ac:spMkLst>
        </pc:spChg>
        <pc:spChg chg="mod">
          <ac:chgData name="Il Ak" userId="75b527419af0622e" providerId="LiveId" clId="{4975F73D-B62C-41FB-AA0B-311A4A8C5DD3}" dt="2020-01-24T10:24:36.673" v="3020"/>
          <ac:spMkLst>
            <pc:docMk/>
            <pc:sldMk cId="2276289938" sldId="2455"/>
            <ac:spMk id="197" creationId="{351A6EE4-4D38-4AC3-A95B-D3C1C4B6BA74}"/>
          </ac:spMkLst>
        </pc:spChg>
        <pc:spChg chg="mod">
          <ac:chgData name="Il Ak" userId="75b527419af0622e" providerId="LiveId" clId="{4975F73D-B62C-41FB-AA0B-311A4A8C5DD3}" dt="2020-01-24T10:24:36.677" v="3027"/>
          <ac:spMkLst>
            <pc:docMk/>
            <pc:sldMk cId="2276289938" sldId="2455"/>
            <ac:spMk id="211" creationId="{35EACF57-1B4D-4864-B8AF-062BB6D6E2F1}"/>
          </ac:spMkLst>
        </pc:spChg>
        <pc:spChg chg="mod">
          <ac:chgData name="Il Ak" userId="75b527419af0622e" providerId="LiveId" clId="{4975F73D-B62C-41FB-AA0B-311A4A8C5DD3}" dt="2020-01-24T10:24:36.676" v="3026"/>
          <ac:spMkLst>
            <pc:docMk/>
            <pc:sldMk cId="2276289938" sldId="2455"/>
            <ac:spMk id="212" creationId="{0AE5B439-A215-44B3-8761-14E30B545C17}"/>
          </ac:spMkLst>
        </pc:spChg>
        <pc:graphicFrameChg chg="mod ord">
          <ac:chgData name="Il Ak" userId="75b527419af0622e" providerId="LiveId" clId="{4975F73D-B62C-41FB-AA0B-311A4A8C5DD3}" dt="2020-01-24T10:24:36.663" v="2997"/>
          <ac:graphicFrameMkLst>
            <pc:docMk/>
            <pc:sldMk cId="2276289938" sldId="2455"/>
            <ac:graphicFrameMk id="7" creationId="{E8B94DCE-33DE-4970-A690-D49E483045BC}"/>
          </ac:graphicFrameMkLst>
        </pc:graphicFrameChg>
        <pc:graphicFrameChg chg="add del mod ord">
          <ac:chgData name="Il Ak" userId="75b527419af0622e" providerId="LiveId" clId="{4975F73D-B62C-41FB-AA0B-311A4A8C5DD3}" dt="2020-01-24T10:24:36.643" v="2982"/>
          <ac:graphicFrameMkLst>
            <pc:docMk/>
            <pc:sldMk cId="2276289938" sldId="2455"/>
            <ac:graphicFrameMk id="31" creationId="{BF81037E-BF87-42B1-96D5-9320D9A14CA5}"/>
          </ac:graphicFrameMkLst>
        </pc:graphicFrameChg>
        <pc:graphicFrameChg chg="add mod ord">
          <ac:chgData name="Il Ak" userId="75b527419af0622e" providerId="LiveId" clId="{4975F73D-B62C-41FB-AA0B-311A4A8C5DD3}" dt="2020-01-24T10:24:36.667" v="3007"/>
          <ac:graphicFrameMkLst>
            <pc:docMk/>
            <pc:sldMk cId="2276289938" sldId="2455"/>
            <ac:graphicFrameMk id="32" creationId="{270C884A-DBFF-4CC6-A081-C0AEA56186EA}"/>
          </ac:graphicFrameMkLst>
        </pc:graphicFrameChg>
        <pc:graphicFrameChg chg="del">
          <ac:chgData name="Il Ak" userId="75b527419af0622e" providerId="LiveId" clId="{4975F73D-B62C-41FB-AA0B-311A4A8C5DD3}" dt="2020-01-24T10:24:34.310" v="2900"/>
          <ac:graphicFrameMkLst>
            <pc:docMk/>
            <pc:sldMk cId="2276289938" sldId="2455"/>
            <ac:graphicFrameMk id="52" creationId="{5F8A1E2F-F2F9-43CD-B8E3-0D7C67D238A1}"/>
          </ac:graphicFrameMkLst>
        </pc:graphicFrameChg>
        <pc:graphicFrameChg chg="mod ord">
          <ac:chgData name="Il Ak" userId="75b527419af0622e" providerId="LiveId" clId="{4975F73D-B62C-41FB-AA0B-311A4A8C5DD3}" dt="2020-01-24T10:24:36.664" v="2999"/>
          <ac:graphicFrameMkLst>
            <pc:docMk/>
            <pc:sldMk cId="2276289938" sldId="2455"/>
            <ac:graphicFrameMk id="303" creationId="{13799E96-6AD0-4445-8977-630BB5882AC1}"/>
          </ac:graphicFrameMkLst>
        </pc:graphicFrameChg>
        <pc:graphicFrameChg chg="mod ord">
          <ac:chgData name="Il Ak" userId="75b527419af0622e" providerId="LiveId" clId="{4975F73D-B62C-41FB-AA0B-311A4A8C5DD3}" dt="2020-01-24T10:24:36.665" v="3003"/>
          <ac:graphicFrameMkLst>
            <pc:docMk/>
            <pc:sldMk cId="2276289938" sldId="2455"/>
            <ac:graphicFrameMk id="304" creationId="{5FAF426D-16FF-4D04-91CF-0536006F0DAC}"/>
          </ac:graphicFrameMkLst>
        </pc:graphicFrameChg>
        <pc:graphicFrameChg chg="mod ord">
          <ac:chgData name="Il Ak" userId="75b527419af0622e" providerId="LiveId" clId="{4975F73D-B62C-41FB-AA0B-311A4A8C5DD3}" dt="2020-01-24T10:24:36.675" v="3025"/>
          <ac:graphicFrameMkLst>
            <pc:docMk/>
            <pc:sldMk cId="2276289938" sldId="2455"/>
            <ac:graphicFrameMk id="306" creationId="{F78B04FC-CD09-47AC-81CA-4B08963D69C1}"/>
          </ac:graphicFrameMkLst>
        </pc:graphicFrameChg>
        <pc:graphicFrameChg chg="mod ord">
          <ac:chgData name="Il Ak" userId="75b527419af0622e" providerId="LiveId" clId="{4975F73D-B62C-41FB-AA0B-311A4A8C5DD3}" dt="2020-01-24T10:24:36.669" v="3011"/>
          <ac:graphicFrameMkLst>
            <pc:docMk/>
            <pc:sldMk cId="2276289938" sldId="2455"/>
            <ac:graphicFrameMk id="309" creationId="{59377D57-B665-4F16-855D-92544F77CE7A}"/>
          </ac:graphicFrameMkLst>
        </pc:graphicFrameChg>
        <pc:graphicFrameChg chg="mod ord">
          <ac:chgData name="Il Ak" userId="75b527419af0622e" providerId="LiveId" clId="{4975F73D-B62C-41FB-AA0B-311A4A8C5DD3}" dt="2020-01-24T10:24:36.672" v="3017"/>
          <ac:graphicFrameMkLst>
            <pc:docMk/>
            <pc:sldMk cId="2276289938" sldId="2455"/>
            <ac:graphicFrameMk id="310" creationId="{2867E722-096C-4478-82A2-C87EDFAE2901}"/>
          </ac:graphicFrameMkLst>
        </pc:graphicFrameChg>
        <pc:graphicFrameChg chg="mod ord">
          <ac:chgData name="Il Ak" userId="75b527419af0622e" providerId="LiveId" clId="{4975F73D-B62C-41FB-AA0B-311A4A8C5DD3}" dt="2020-01-24T10:24:36.687" v="3039"/>
          <ac:graphicFrameMkLst>
            <pc:docMk/>
            <pc:sldMk cId="2276289938" sldId="2455"/>
            <ac:graphicFrameMk id="7170" creationId="{BE174EA5-253C-41DB-9C13-59D2D3D0449E}"/>
          </ac:graphicFrameMkLst>
        </pc:graphicFrameChg>
        <pc:cxnChg chg="mod ord">
          <ac:chgData name="Il Ak" userId="75b527419af0622e" providerId="LiveId" clId="{4975F73D-B62C-41FB-AA0B-311A4A8C5DD3}" dt="2020-01-24T10:24:36.670" v="3013"/>
          <ac:cxnSpMkLst>
            <pc:docMk/>
            <pc:sldMk cId="2276289938" sldId="2455"/>
            <ac:cxnSpMk id="2" creationId="{3681D8A2-B1ED-4A23-9CC1-FA91F68D0581}"/>
          </ac:cxnSpMkLst>
        </pc:cxnChg>
        <pc:cxnChg chg="mod ord">
          <ac:chgData name="Il Ak" userId="75b527419af0622e" providerId="LiveId" clId="{4975F73D-B62C-41FB-AA0B-311A4A8C5DD3}" dt="2020-01-24T10:24:36.665" v="3001"/>
          <ac:cxnSpMkLst>
            <pc:docMk/>
            <pc:sldMk cId="2276289938" sldId="2455"/>
            <ac:cxnSpMk id="3" creationId="{C622A593-3196-464C-8C18-1282CE4617B8}"/>
          </ac:cxnSpMkLst>
        </pc:cxnChg>
        <pc:cxnChg chg="mod ord">
          <ac:chgData name="Il Ak" userId="75b527419af0622e" providerId="LiveId" clId="{4975F73D-B62C-41FB-AA0B-311A4A8C5DD3}" dt="2020-01-24T10:24:36.666" v="3005"/>
          <ac:cxnSpMkLst>
            <pc:docMk/>
            <pc:sldMk cId="2276289938" sldId="2455"/>
            <ac:cxnSpMk id="4" creationId="{303990B9-0BC3-456B-8CBE-1B3C3C0FDFBB}"/>
          </ac:cxnSpMkLst>
        </pc:cxnChg>
        <pc:cxnChg chg="mod ord">
          <ac:chgData name="Il Ak" userId="75b527419af0622e" providerId="LiveId" clId="{4975F73D-B62C-41FB-AA0B-311A4A8C5DD3}" dt="2020-01-24T10:24:36.675" v="3023"/>
          <ac:cxnSpMkLst>
            <pc:docMk/>
            <pc:sldMk cId="2276289938" sldId="2455"/>
            <ac:cxnSpMk id="8" creationId="{5681A9B0-12A5-4E09-872A-6AD12E3D3BCD}"/>
          </ac:cxnSpMkLst>
        </pc:cxnChg>
        <pc:cxnChg chg="mod ord">
          <ac:chgData name="Il Ak" userId="75b527419af0622e" providerId="LiveId" clId="{4975F73D-B62C-41FB-AA0B-311A4A8C5DD3}" dt="2020-01-24T10:24:36.678" v="3029"/>
          <ac:cxnSpMkLst>
            <pc:docMk/>
            <pc:sldMk cId="2276289938" sldId="2455"/>
            <ac:cxnSpMk id="10" creationId="{F03ECF97-2BE2-44DB-AD64-A588FA01D0C6}"/>
          </ac:cxnSpMkLst>
        </pc:cxnChg>
        <pc:cxnChg chg="mod ord">
          <ac:chgData name="Il Ak" userId="75b527419af0622e" providerId="LiveId" clId="{4975F73D-B62C-41FB-AA0B-311A4A8C5DD3}" dt="2020-01-24T10:24:36.673" v="3019"/>
          <ac:cxnSpMkLst>
            <pc:docMk/>
            <pc:sldMk cId="2276289938" sldId="2455"/>
            <ac:cxnSpMk id="195" creationId="{87F6453C-E833-4F11-899A-BB8662807931}"/>
          </ac:cxnSpMkLst>
        </pc:cxnChg>
        <pc:cxnChg chg="mod ord">
          <ac:chgData name="Il Ak" userId="75b527419af0622e" providerId="LiveId" clId="{4975F73D-B62C-41FB-AA0B-311A4A8C5DD3}" dt="2020-01-24T10:24:36.679" v="3031"/>
          <ac:cxnSpMkLst>
            <pc:docMk/>
            <pc:sldMk cId="2276289938" sldId="2455"/>
            <ac:cxnSpMk id="272" creationId="{E0C9E568-2F76-4B9E-88E2-FBC94A4FC1BF}"/>
          </ac:cxnSpMkLst>
        </pc:cxnChg>
        <pc:cxnChg chg="mod ord">
          <ac:chgData name="Il Ak" userId="75b527419af0622e" providerId="LiveId" clId="{4975F73D-B62C-41FB-AA0B-311A4A8C5DD3}" dt="2020-01-24T10:24:36.679" v="3033"/>
          <ac:cxnSpMkLst>
            <pc:docMk/>
            <pc:sldMk cId="2276289938" sldId="2455"/>
            <ac:cxnSpMk id="273" creationId="{5DC66142-E609-426E-837C-910553268E7E}"/>
          </ac:cxnSpMkLst>
        </pc:cxnChg>
        <pc:cxnChg chg="mod ord">
          <ac:chgData name="Il Ak" userId="75b527419af0622e" providerId="LiveId" clId="{4975F73D-B62C-41FB-AA0B-311A4A8C5DD3}" dt="2020-01-24T10:24:36.680" v="3035"/>
          <ac:cxnSpMkLst>
            <pc:docMk/>
            <pc:sldMk cId="2276289938" sldId="2455"/>
            <ac:cxnSpMk id="274" creationId="{5E78DDD8-0342-4425-9D6D-DFAE127AE287}"/>
          </ac:cxnSpMkLst>
        </pc:cxnChg>
        <pc:cxnChg chg="mod ord">
          <ac:chgData name="Il Ak" userId="75b527419af0622e" providerId="LiveId" clId="{4975F73D-B62C-41FB-AA0B-311A4A8C5DD3}" dt="2020-01-24T10:24:36.681" v="3037"/>
          <ac:cxnSpMkLst>
            <pc:docMk/>
            <pc:sldMk cId="2276289938" sldId="2455"/>
            <ac:cxnSpMk id="275" creationId="{D9B37C44-E90B-45A6-B92C-CCDDB9156585}"/>
          </ac:cxnSpMkLst>
        </pc:cxnChg>
      </pc:sldChg>
      <pc:sldChg chg="modSp">
        <pc:chgData name="Il Ak" userId="75b527419af0622e" providerId="LiveId" clId="{4975F73D-B62C-41FB-AA0B-311A4A8C5DD3}" dt="2020-01-24T12:34:43.146" v="3335" actId="6549"/>
        <pc:sldMkLst>
          <pc:docMk/>
          <pc:sldMk cId="1792879923" sldId="2457"/>
        </pc:sldMkLst>
        <pc:spChg chg="mod">
          <ac:chgData name="Il Ak" userId="75b527419af0622e" providerId="LiveId" clId="{4975F73D-B62C-41FB-AA0B-311A4A8C5DD3}" dt="2020-01-24T12:34:43.146" v="3335" actId="6549"/>
          <ac:spMkLst>
            <pc:docMk/>
            <pc:sldMk cId="1792879923" sldId="2457"/>
            <ac:spMk id="8" creationId="{6CF70ED1-A108-4747-83A3-4B37491F2191}"/>
          </ac:spMkLst>
        </pc:spChg>
      </pc:sldChg>
      <pc:sldChg chg="modSp">
        <pc:chgData name="Il Ak" userId="75b527419af0622e" providerId="LiveId" clId="{4975F73D-B62C-41FB-AA0B-311A4A8C5DD3}" dt="2020-01-24T10:24:18.204" v="2840" actId="108"/>
        <pc:sldMkLst>
          <pc:docMk/>
          <pc:sldMk cId="3566157684" sldId="2458"/>
        </pc:sldMkLst>
        <pc:spChg chg="mod">
          <ac:chgData name="Il Ak" userId="75b527419af0622e" providerId="LiveId" clId="{4975F73D-B62C-41FB-AA0B-311A4A8C5DD3}" dt="2020-01-24T10:24:06.500" v="2829" actId="108"/>
          <ac:spMkLst>
            <pc:docMk/>
            <pc:sldMk cId="3566157684" sldId="2458"/>
            <ac:spMk id="13" creationId="{BD91CD7D-210D-48C7-820C-96A06AACA996}"/>
          </ac:spMkLst>
        </pc:spChg>
        <pc:spChg chg="mod">
          <ac:chgData name="Il Ak" userId="75b527419af0622e" providerId="LiveId" clId="{4975F73D-B62C-41FB-AA0B-311A4A8C5DD3}" dt="2020-01-24T10:24:14.671" v="2839" actId="108"/>
          <ac:spMkLst>
            <pc:docMk/>
            <pc:sldMk cId="3566157684" sldId="2458"/>
            <ac:spMk id="14" creationId="{27FCF6B8-0DD0-4D01-9E8D-6AAC098C594B}"/>
          </ac:spMkLst>
        </pc:spChg>
        <pc:spChg chg="mod">
          <ac:chgData name="Il Ak" userId="75b527419af0622e" providerId="LiveId" clId="{4975F73D-B62C-41FB-AA0B-311A4A8C5DD3}" dt="2020-01-24T10:24:18.204" v="2840" actId="108"/>
          <ac:spMkLst>
            <pc:docMk/>
            <pc:sldMk cId="3566157684" sldId="2458"/>
            <ac:spMk id="18" creationId="{84698DDB-0BD5-4226-9889-6AAAC5254853}"/>
          </ac:spMkLst>
        </pc:spChg>
        <pc:spChg chg="mod">
          <ac:chgData name="Il Ak" userId="75b527419af0622e" providerId="LiveId" clId="{4975F73D-B62C-41FB-AA0B-311A4A8C5DD3}" dt="2020-01-24T10:24:11.611" v="2835" actId="108"/>
          <ac:spMkLst>
            <pc:docMk/>
            <pc:sldMk cId="3566157684" sldId="2458"/>
            <ac:spMk id="21" creationId="{2EC09187-A7EB-4A64-9BD8-4E9F1E26D095}"/>
          </ac:spMkLst>
        </pc:spChg>
        <pc:picChg chg="mod">
          <ac:chgData name="Il Ak" userId="75b527419af0622e" providerId="LiveId" clId="{4975F73D-B62C-41FB-AA0B-311A4A8C5DD3}" dt="2020-01-24T10:12:49.659" v="441" actId="1036"/>
          <ac:picMkLst>
            <pc:docMk/>
            <pc:sldMk cId="3566157684" sldId="2458"/>
            <ac:picMk id="10" creationId="{C3441B64-83F1-478F-9AFC-F08DD7D86006}"/>
          </ac:picMkLst>
        </pc:picChg>
        <pc:picChg chg="mod">
          <ac:chgData name="Il Ak" userId="75b527419af0622e" providerId="LiveId" clId="{4975F73D-B62C-41FB-AA0B-311A4A8C5DD3}" dt="2020-01-24T10:12:49.659" v="441" actId="1036"/>
          <ac:picMkLst>
            <pc:docMk/>
            <pc:sldMk cId="3566157684" sldId="2458"/>
            <ac:picMk id="11" creationId="{19FBF215-1B88-4E22-808E-FDE8332CCC5A}"/>
          </ac:picMkLst>
        </pc:picChg>
      </pc:sldChg>
      <pc:sldChg chg="modSp">
        <pc:chgData name="Il Ak" userId="75b527419af0622e" providerId="LiveId" clId="{4975F73D-B62C-41FB-AA0B-311A4A8C5DD3}" dt="2020-01-24T10:26:17.010" v="3086" actId="2085"/>
        <pc:sldMkLst>
          <pc:docMk/>
          <pc:sldMk cId="156991591" sldId="2461"/>
        </pc:sldMkLst>
        <pc:spChg chg="mod">
          <ac:chgData name="Il Ak" userId="75b527419af0622e" providerId="LiveId" clId="{4975F73D-B62C-41FB-AA0B-311A4A8C5DD3}" dt="2020-01-24T10:26:17.010" v="3086" actId="2085"/>
          <ac:spMkLst>
            <pc:docMk/>
            <pc:sldMk cId="156991591" sldId="2461"/>
            <ac:spMk id="44" creationId="{C7C27E05-0576-40B1-B0BC-1BDCD176AAD7}"/>
          </ac:spMkLst>
        </pc:spChg>
      </pc:sldChg>
      <pc:sldChg chg="modSp">
        <pc:chgData name="Il Ak" userId="75b527419af0622e" providerId="LiveId" clId="{4975F73D-B62C-41FB-AA0B-311A4A8C5DD3}" dt="2020-01-24T10:26:21.652" v="3087" actId="108"/>
        <pc:sldMkLst>
          <pc:docMk/>
          <pc:sldMk cId="3843197792" sldId="2465"/>
        </pc:sldMkLst>
        <pc:spChg chg="mod">
          <ac:chgData name="Il Ak" userId="75b527419af0622e" providerId="LiveId" clId="{4975F73D-B62C-41FB-AA0B-311A4A8C5DD3}" dt="2020-01-24T10:26:21.652" v="3087" actId="108"/>
          <ac:spMkLst>
            <pc:docMk/>
            <pc:sldMk cId="3843197792" sldId="2465"/>
            <ac:spMk id="8" creationId="{AC1DB1BA-B1A9-4163-9A29-3EAE1C17D609}"/>
          </ac:spMkLst>
        </pc:spChg>
      </pc:sldChg>
      <pc:sldChg chg="modSp">
        <pc:chgData name="Il Ak" userId="75b527419af0622e" providerId="LiveId" clId="{4975F73D-B62C-41FB-AA0B-311A4A8C5DD3}" dt="2020-01-24T10:36:08.940" v="3166" actId="465"/>
        <pc:sldMkLst>
          <pc:docMk/>
          <pc:sldMk cId="2516308424" sldId="2467"/>
        </pc:sldMkLst>
        <pc:spChg chg="mod">
          <ac:chgData name="Il Ak" userId="75b527419af0622e" providerId="LiveId" clId="{4975F73D-B62C-41FB-AA0B-311A4A8C5DD3}" dt="2020-01-24T10:36:08.940" v="3166" actId="465"/>
          <ac:spMkLst>
            <pc:docMk/>
            <pc:sldMk cId="2516308424" sldId="2467"/>
            <ac:spMk id="8" creationId="{6CF70ED1-A108-4747-83A3-4B37491F2191}"/>
          </ac:spMkLst>
        </pc:spChg>
        <pc:grpChg chg="mod">
          <ac:chgData name="Il Ak" userId="75b527419af0622e" providerId="LiveId" clId="{4975F73D-B62C-41FB-AA0B-311A4A8C5DD3}" dt="2020-01-24T10:36:08.940" v="3166" actId="465"/>
          <ac:grpSpMkLst>
            <pc:docMk/>
            <pc:sldMk cId="2516308424" sldId="2467"/>
            <ac:grpSpMk id="31" creationId="{A1764205-FA7D-4197-B0C3-0AF616C4623B}"/>
          </ac:grpSpMkLst>
        </pc:grpChg>
        <pc:grpChg chg="mod">
          <ac:chgData name="Il Ak" userId="75b527419af0622e" providerId="LiveId" clId="{4975F73D-B62C-41FB-AA0B-311A4A8C5DD3}" dt="2020-01-24T10:36:08.940" v="3166" actId="465"/>
          <ac:grpSpMkLst>
            <pc:docMk/>
            <pc:sldMk cId="2516308424" sldId="2467"/>
            <ac:grpSpMk id="7168" creationId="{FB6AF948-8FAB-491E-98B9-9659C80120D0}"/>
          </ac:grpSpMkLst>
        </pc:grpChg>
        <pc:grpChg chg="mod">
          <ac:chgData name="Il Ak" userId="75b527419af0622e" providerId="LiveId" clId="{4975F73D-B62C-41FB-AA0B-311A4A8C5DD3}" dt="2020-01-24T10:36:08.940" v="3166" actId="465"/>
          <ac:grpSpMkLst>
            <pc:docMk/>
            <pc:sldMk cId="2516308424" sldId="2467"/>
            <ac:grpSpMk id="7169" creationId="{669BDB83-0BAF-42BB-94F2-DFDDA152BFA5}"/>
          </ac:grpSpMkLst>
        </pc:grpChg>
      </pc:sldChg>
      <pc:sldChg chg="addSp modSp">
        <pc:chgData name="Il Ak" userId="75b527419af0622e" providerId="LiveId" clId="{4975F73D-B62C-41FB-AA0B-311A4A8C5DD3}" dt="2020-01-24T12:44:23.353" v="3381" actId="20577"/>
        <pc:sldMkLst>
          <pc:docMk/>
          <pc:sldMk cId="3409696897" sldId="2468"/>
        </pc:sldMkLst>
        <pc:spChg chg="mod">
          <ac:chgData name="Il Ak" userId="75b527419af0622e" providerId="LiveId" clId="{4975F73D-B62C-41FB-AA0B-311A4A8C5DD3}" dt="2020-01-24T10:35:20.617" v="3124"/>
          <ac:spMkLst>
            <pc:docMk/>
            <pc:sldMk cId="3409696897" sldId="2468"/>
            <ac:spMk id="20" creationId="{43DC9304-5AB1-4E6D-9DE7-66277F7C47C1}"/>
          </ac:spMkLst>
        </pc:spChg>
        <pc:spChg chg="mod">
          <ac:chgData name="Il Ak" userId="75b527419af0622e" providerId="LiveId" clId="{4975F73D-B62C-41FB-AA0B-311A4A8C5DD3}" dt="2020-01-24T10:35:18.493" v="3123" actId="20577"/>
          <ac:spMkLst>
            <pc:docMk/>
            <pc:sldMk cId="3409696897" sldId="2468"/>
            <ac:spMk id="21" creationId="{E8A0F061-C029-405F-84D2-ABCCFD003610}"/>
          </ac:spMkLst>
        </pc:spChg>
        <pc:spChg chg="mod">
          <ac:chgData name="Il Ak" userId="75b527419af0622e" providerId="LiveId" clId="{4975F73D-B62C-41FB-AA0B-311A4A8C5DD3}" dt="2020-01-24T12:44:23.353" v="3381" actId="20577"/>
          <ac:spMkLst>
            <pc:docMk/>
            <pc:sldMk cId="3409696897" sldId="2468"/>
            <ac:spMk id="23" creationId="{F7266C1F-420D-49C5-8677-F5047BA2FFE9}"/>
          </ac:spMkLst>
        </pc:spChg>
        <pc:spChg chg="mod">
          <ac:chgData name="Il Ak" userId="75b527419af0622e" providerId="LiveId" clId="{4975F73D-B62C-41FB-AA0B-311A4A8C5DD3}" dt="2020-01-24T10:32:27.174" v="3109"/>
          <ac:spMkLst>
            <pc:docMk/>
            <pc:sldMk cId="3409696897" sldId="2468"/>
            <ac:spMk id="37" creationId="{E400F853-13BC-41FF-9855-154B2B3698F5}"/>
          </ac:spMkLst>
        </pc:spChg>
        <pc:grpChg chg="mod">
          <ac:chgData name="Il Ak" userId="75b527419af0622e" providerId="LiveId" clId="{4975F73D-B62C-41FB-AA0B-311A4A8C5DD3}" dt="2020-01-24T12:27:14.832" v="3179" actId="1035"/>
          <ac:grpSpMkLst>
            <pc:docMk/>
            <pc:sldMk cId="3409696897" sldId="2468"/>
            <ac:grpSpMk id="2" creationId="{8CEC99B8-CCD7-4945-893B-53C4EBAA72B4}"/>
          </ac:grpSpMkLst>
        </pc:grpChg>
        <pc:grpChg chg="mod">
          <ac:chgData name="Il Ak" userId="75b527419af0622e" providerId="LiveId" clId="{4975F73D-B62C-41FB-AA0B-311A4A8C5DD3}" dt="2020-01-24T10:35:58.692" v="3165" actId="465"/>
          <ac:grpSpMkLst>
            <pc:docMk/>
            <pc:sldMk cId="3409696897" sldId="2468"/>
            <ac:grpSpMk id="3" creationId="{85064646-26D3-4FF3-B655-7718F2E107B4}"/>
          </ac:grpSpMkLst>
        </pc:grpChg>
        <pc:grpChg chg="mod">
          <ac:chgData name="Il Ak" userId="75b527419af0622e" providerId="LiveId" clId="{4975F73D-B62C-41FB-AA0B-311A4A8C5DD3}" dt="2020-01-24T10:35:58.692" v="3165" actId="465"/>
          <ac:grpSpMkLst>
            <pc:docMk/>
            <pc:sldMk cId="3409696897" sldId="2468"/>
            <ac:grpSpMk id="16" creationId="{F76A97FB-01B0-49F2-9740-DB2B0BDBA99E}"/>
          </ac:grpSpMkLst>
        </pc:grpChg>
        <pc:grpChg chg="add mod">
          <ac:chgData name="Il Ak" userId="75b527419af0622e" providerId="LiveId" clId="{4975F73D-B62C-41FB-AA0B-311A4A8C5DD3}" dt="2020-01-24T10:35:58.692" v="3165" actId="465"/>
          <ac:grpSpMkLst>
            <pc:docMk/>
            <pc:sldMk cId="3409696897" sldId="2468"/>
            <ac:grpSpMk id="19" creationId="{3914BDCB-C3E7-4850-A0DA-1D57CA35ABC9}"/>
          </ac:grpSpMkLst>
        </pc:grpChg>
        <pc:grpChg chg="mod">
          <ac:chgData name="Il Ak" userId="75b527419af0622e" providerId="LiveId" clId="{4975F73D-B62C-41FB-AA0B-311A4A8C5DD3}" dt="2020-01-24T10:35:58.692" v="3165" actId="465"/>
          <ac:grpSpMkLst>
            <pc:docMk/>
            <pc:sldMk cId="3409696897" sldId="2468"/>
            <ac:grpSpMk id="36" creationId="{E9AD9D61-AA74-46AD-8AD3-44B3D1ECEC89}"/>
          </ac:grpSpMkLst>
        </pc:grpChg>
      </pc:sldChg>
      <pc:sldChg chg="modSp ord">
        <pc:chgData name="Il Ak" userId="75b527419af0622e" providerId="LiveId" clId="{4975F73D-B62C-41FB-AA0B-311A4A8C5DD3}" dt="2020-01-24T12:29:24.126" v="3292"/>
        <pc:sldMkLst>
          <pc:docMk/>
          <pc:sldMk cId="0" sldId="2469"/>
        </pc:sldMkLst>
        <pc:spChg chg="mod">
          <ac:chgData name="Il Ak" userId="75b527419af0622e" providerId="LiveId" clId="{4975F73D-B62C-41FB-AA0B-311A4A8C5DD3}" dt="2020-01-24T10:26:26.692" v="3091" actId="108"/>
          <ac:spMkLst>
            <pc:docMk/>
            <pc:sldMk cId="0" sldId="2469"/>
            <ac:spMk id="202" creationId="{00000000-0000-0000-0000-000000000000}"/>
          </ac:spMkLst>
        </pc:spChg>
        <pc:spChg chg="mod">
          <ac:chgData name="Il Ak" userId="75b527419af0622e" providerId="LiveId" clId="{4975F73D-B62C-41FB-AA0B-311A4A8C5DD3}" dt="2020-01-24T09:55:10.393" v="118" actId="6549"/>
          <ac:spMkLst>
            <pc:docMk/>
            <pc:sldMk cId="0" sldId="2469"/>
            <ac:spMk id="206" creationId="{00000000-0000-0000-0000-000000000000}"/>
          </ac:spMkLst>
        </pc:spChg>
        <pc:graphicFrameChg chg="mod modGraphic">
          <ac:chgData name="Il Ak" userId="75b527419af0622e" providerId="LiveId" clId="{4975F73D-B62C-41FB-AA0B-311A4A8C5DD3}" dt="2020-01-24T09:54:39.967" v="71" actId="20577"/>
          <ac:graphicFrameMkLst>
            <pc:docMk/>
            <pc:sldMk cId="0" sldId="2469"/>
            <ac:graphicFrameMk id="5" creationId="{5CF28366-9BC8-4966-B72F-B7F528516379}"/>
          </ac:graphicFrameMkLst>
        </pc:graphicFrameChg>
      </pc:sldChg>
      <pc:sldChg chg="modSp">
        <pc:chgData name="Il Ak" userId="75b527419af0622e" providerId="LiveId" clId="{4975F73D-B62C-41FB-AA0B-311A4A8C5DD3}" dt="2020-01-24T10:26:35.472" v="3095" actId="108"/>
        <pc:sldMkLst>
          <pc:docMk/>
          <pc:sldMk cId="0" sldId="2472"/>
        </pc:sldMkLst>
        <pc:spChg chg="mod">
          <ac:chgData name="Il Ak" userId="75b527419af0622e" providerId="LiveId" clId="{4975F73D-B62C-41FB-AA0B-311A4A8C5DD3}" dt="2020-01-24T10:26:35.472" v="3095" actId="108"/>
          <ac:spMkLst>
            <pc:docMk/>
            <pc:sldMk cId="0" sldId="2472"/>
            <ac:spMk id="229" creationId="{00000000-0000-0000-0000-000000000000}"/>
          </ac:spMkLst>
        </pc:spChg>
      </pc:sldChg>
      <pc:sldChg chg="addSp delSp modSp">
        <pc:chgData name="Il Ak" userId="75b527419af0622e" providerId="LiveId" clId="{4975F73D-B62C-41FB-AA0B-311A4A8C5DD3}" dt="2020-01-24T10:22:20.277" v="2572" actId="478"/>
        <pc:sldMkLst>
          <pc:docMk/>
          <pc:sldMk cId="0" sldId="2473"/>
        </pc:sldMkLst>
        <pc:spChg chg="del">
          <ac:chgData name="Il Ak" userId="75b527419af0622e" providerId="LiveId" clId="{4975F73D-B62C-41FB-AA0B-311A4A8C5DD3}" dt="2020-01-24T10:21:03.847" v="1610" actId="478"/>
          <ac:spMkLst>
            <pc:docMk/>
            <pc:sldMk cId="0" sldId="2473"/>
            <ac:spMk id="28" creationId="{82074498-E15C-4301-A56F-F5E29C286767}"/>
          </ac:spMkLst>
        </pc:spChg>
        <pc:spChg chg="del topLvl">
          <ac:chgData name="Il Ak" userId="75b527419af0622e" providerId="LiveId" clId="{4975F73D-B62C-41FB-AA0B-311A4A8C5DD3}" dt="2020-01-24T10:21:06.188" v="1611" actId="478"/>
          <ac:spMkLst>
            <pc:docMk/>
            <pc:sldMk cId="0" sldId="2473"/>
            <ac:spMk id="29" creationId="{E6B2BFB6-892F-419A-89E5-36365A5A50D9}"/>
          </ac:spMkLst>
        </pc:spChg>
        <pc:spChg chg="add mod ord">
          <ac:chgData name="Il Ak" userId="75b527419af0622e" providerId="LiveId" clId="{4975F73D-B62C-41FB-AA0B-311A4A8C5DD3}" dt="2020-01-24T10:22:07.026" v="2562"/>
          <ac:spMkLst>
            <pc:docMk/>
            <pc:sldMk cId="0" sldId="2473"/>
            <ac:spMk id="31" creationId="{1F60DC44-3903-4CC4-9469-692B92F24841}"/>
          </ac:spMkLst>
        </pc:spChg>
        <pc:spChg chg="add mod">
          <ac:chgData name="Il Ak" userId="75b527419af0622e" providerId="LiveId" clId="{4975F73D-B62C-41FB-AA0B-311A4A8C5DD3}" dt="2020-01-24T10:22:18.689" v="2571" actId="1076"/>
          <ac:spMkLst>
            <pc:docMk/>
            <pc:sldMk cId="0" sldId="2473"/>
            <ac:spMk id="33" creationId="{92614941-827F-41CF-B6C4-8BEE542FC4AC}"/>
          </ac:spMkLst>
        </pc:spChg>
        <pc:spChg chg="mod ord">
          <ac:chgData name="Il Ak" userId="75b527419af0622e" providerId="LiveId" clId="{4975F73D-B62C-41FB-AA0B-311A4A8C5DD3}" dt="2020-01-24T10:22:07.015" v="2538"/>
          <ac:spMkLst>
            <pc:docMk/>
            <pc:sldMk cId="0" sldId="2473"/>
            <ac:spMk id="54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16" v="2540"/>
          <ac:spMkLst>
            <pc:docMk/>
            <pc:sldMk cId="0" sldId="2473"/>
            <ac:spMk id="55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17" v="2542"/>
          <ac:spMkLst>
            <pc:docMk/>
            <pc:sldMk cId="0" sldId="2473"/>
            <ac:spMk id="56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18" v="2544"/>
          <ac:spMkLst>
            <pc:docMk/>
            <pc:sldMk cId="0" sldId="2473"/>
            <ac:spMk id="57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19" v="2546"/>
          <ac:spMkLst>
            <pc:docMk/>
            <pc:sldMk cId="0" sldId="2473"/>
            <ac:spMk id="58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27" v="2564"/>
          <ac:spMkLst>
            <pc:docMk/>
            <pc:sldMk cId="0" sldId="2473"/>
            <ac:spMk id="63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28" v="2566"/>
          <ac:spMkLst>
            <pc:docMk/>
            <pc:sldMk cId="0" sldId="2473"/>
            <ac:spMk id="64" creationId="{00000000-0000-0000-0000-000000000000}"/>
          </ac:spMkLst>
        </pc:spChg>
        <pc:spChg chg="mod">
          <ac:chgData name="Il Ak" userId="75b527419af0622e" providerId="LiveId" clId="{4975F73D-B62C-41FB-AA0B-311A4A8C5DD3}" dt="2020-01-24T10:21:21.959" v="1682" actId="1076"/>
          <ac:spMkLst>
            <pc:docMk/>
            <pc:sldMk cId="0" sldId="2473"/>
            <ac:spMk id="68" creationId="{00000000-0000-0000-0000-000000000000}"/>
          </ac:spMkLst>
        </pc:spChg>
        <pc:spChg chg="mod">
          <ac:chgData name="Il Ak" userId="75b527419af0622e" providerId="LiveId" clId="{4975F73D-B62C-41FB-AA0B-311A4A8C5DD3}" dt="2020-01-24T10:21:16.824" v="1679" actId="1076"/>
          <ac:spMkLst>
            <pc:docMk/>
            <pc:sldMk cId="0" sldId="2473"/>
            <ac:spMk id="69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22" v="2552"/>
          <ac:spMkLst>
            <pc:docMk/>
            <pc:sldMk cId="0" sldId="2473"/>
            <ac:spMk id="70" creationId="{00000000-0000-0000-0000-000000000000}"/>
          </ac:spMkLst>
        </pc:spChg>
        <pc:spChg chg="mod ord">
          <ac:chgData name="Il Ak" userId="75b527419af0622e" providerId="LiveId" clId="{4975F73D-B62C-41FB-AA0B-311A4A8C5DD3}" dt="2020-01-24T10:22:07.023" v="2554"/>
          <ac:spMkLst>
            <pc:docMk/>
            <pc:sldMk cId="0" sldId="2473"/>
            <ac:spMk id="71" creationId="{00000000-0000-0000-0000-000000000000}"/>
          </ac:spMkLst>
        </pc:spChg>
        <pc:grpChg chg="add del mod">
          <ac:chgData name="Il Ak" userId="75b527419af0622e" providerId="LiveId" clId="{4975F73D-B62C-41FB-AA0B-311A4A8C5DD3}" dt="2020-01-24T10:21:06.188" v="1611" actId="478"/>
          <ac:grpSpMkLst>
            <pc:docMk/>
            <pc:sldMk cId="0" sldId="2473"/>
            <ac:grpSpMk id="26" creationId="{DF98D5BA-554D-4CB7-A9D3-EC68788F6552}"/>
          </ac:grpSpMkLst>
        </pc:grpChg>
        <pc:grpChg chg="mod ord">
          <ac:chgData name="Il Ak" userId="75b527419af0622e" providerId="LiveId" clId="{4975F73D-B62C-41FB-AA0B-311A4A8C5DD3}" dt="2020-01-24T10:22:07.020" v="2548"/>
          <ac:grpSpMkLst>
            <pc:docMk/>
            <pc:sldMk cId="0" sldId="2473"/>
            <ac:grpSpMk id="59" creationId="{00000000-0000-0000-0000-000000000000}"/>
          </ac:grpSpMkLst>
        </pc:grpChg>
        <pc:grpChg chg="del mod ord">
          <ac:chgData name="Il Ak" userId="75b527419af0622e" providerId="LiveId" clId="{4975F73D-B62C-41FB-AA0B-311A4A8C5DD3}" dt="2020-01-24T10:22:20.277" v="2572" actId="478"/>
          <ac:grpSpMkLst>
            <pc:docMk/>
            <pc:sldMk cId="0" sldId="2473"/>
            <ac:grpSpMk id="65" creationId="{00000000-0000-0000-0000-000000000000}"/>
          </ac:grpSpMkLst>
        </pc:grpChg>
        <pc:grpChg chg="mod ord">
          <ac:chgData name="Il Ak" userId="75b527419af0622e" providerId="LiveId" clId="{4975F73D-B62C-41FB-AA0B-311A4A8C5DD3}" dt="2020-01-24T10:22:07.024" v="2556"/>
          <ac:grpSpMkLst>
            <pc:docMk/>
            <pc:sldMk cId="0" sldId="2473"/>
            <ac:grpSpMk id="72" creationId="{00000000-0000-0000-0000-000000000000}"/>
          </ac:grpSpMkLst>
        </pc:grpChg>
        <pc:graphicFrameChg chg="add del mod ord modVis">
          <ac:chgData name="Il Ak" userId="75b527419af0622e" providerId="LiveId" clId="{4975F73D-B62C-41FB-AA0B-311A4A8C5DD3}" dt="2020-01-24T10:21:16.331" v="1678"/>
          <ac:graphicFrameMkLst>
            <pc:docMk/>
            <pc:sldMk cId="0" sldId="2473"/>
            <ac:graphicFrameMk id="2" creationId="{1629FA78-06A7-4588-BECB-A5447BED7407}"/>
          </ac:graphicFrameMkLst>
        </pc:graphicFrameChg>
        <pc:graphicFrameChg chg="add mod ord modVis">
          <ac:chgData name="Il Ak" userId="75b527419af0622e" providerId="LiveId" clId="{4975F73D-B62C-41FB-AA0B-311A4A8C5DD3}" dt="2020-01-24T10:22:07.030" v="2568"/>
          <ac:graphicFrameMkLst>
            <pc:docMk/>
            <pc:sldMk cId="0" sldId="2473"/>
            <ac:graphicFrameMk id="3" creationId="{4832C373-DAF2-440F-83C1-34650ECB4041}"/>
          </ac:graphicFrameMkLst>
        </pc:graphicFrameChg>
        <pc:picChg chg="mod ord topLvl">
          <ac:chgData name="Il Ak" userId="75b527419af0622e" providerId="LiveId" clId="{4975F73D-B62C-41FB-AA0B-311A4A8C5DD3}" dt="2020-01-24T10:22:07.025" v="2560"/>
          <ac:picMkLst>
            <pc:docMk/>
            <pc:sldMk cId="0" sldId="2473"/>
            <ac:picMk id="27" creationId="{9BB9EA33-8BE0-49B1-9327-A0B3B600A83B}"/>
          </ac:picMkLst>
        </pc:picChg>
        <pc:picChg chg="add del">
          <ac:chgData name="Il Ak" userId="75b527419af0622e" providerId="LiveId" clId="{4975F73D-B62C-41FB-AA0B-311A4A8C5DD3}" dt="2020-01-24T10:21:21.631" v="1681" actId="478"/>
          <ac:picMkLst>
            <pc:docMk/>
            <pc:sldMk cId="0" sldId="2473"/>
            <ac:picMk id="66" creationId="{00000000-0000-0000-0000-000000000000}"/>
          </ac:picMkLst>
        </pc:picChg>
        <pc:picChg chg="mod ord">
          <ac:chgData name="Il Ak" userId="75b527419af0622e" providerId="LiveId" clId="{4975F73D-B62C-41FB-AA0B-311A4A8C5DD3}" dt="2020-01-24T10:22:07.024" v="2558"/>
          <ac:picMkLst>
            <pc:docMk/>
            <pc:sldMk cId="0" sldId="2473"/>
            <ac:picMk id="77" creationId="{00000000-0000-0000-0000-000000000000}"/>
          </ac:picMkLst>
        </pc:picChg>
      </pc:sldChg>
      <pc:sldChg chg="addSp delSp modSp add">
        <pc:chgData name="Il Ak" userId="75b527419af0622e" providerId="LiveId" clId="{4975F73D-B62C-41FB-AA0B-311A4A8C5DD3}" dt="2020-01-24T12:29:04.798" v="3286"/>
        <pc:sldMkLst>
          <pc:docMk/>
          <pc:sldMk cId="2755887568" sldId="2474"/>
        </pc:sldMkLst>
        <pc:spChg chg="del">
          <ac:chgData name="Il Ak" userId="75b527419af0622e" providerId="LiveId" clId="{4975F73D-B62C-41FB-AA0B-311A4A8C5DD3}" dt="2020-01-24T10:14:58.342" v="516"/>
          <ac:spMkLst>
            <pc:docMk/>
            <pc:sldMk cId="2755887568" sldId="2474"/>
            <ac:spMk id="2" creationId="{81C25A56-D354-4D84-8B0E-FCBC5ACBDEEA}"/>
          </ac:spMkLst>
        </pc:spChg>
        <pc:spChg chg="mod ord">
          <ac:chgData name="Il Ak" userId="75b527419af0622e" providerId="LiveId" clId="{4975F73D-B62C-41FB-AA0B-311A4A8C5DD3}" dt="2020-01-24T12:29:04.291" v="3284" actId="20577"/>
          <ac:spMkLst>
            <pc:docMk/>
            <pc:sldMk cId="2755887568" sldId="2474"/>
            <ac:spMk id="5" creationId="{F50DAC38-D7A5-4E9B-9A7E-8CB6647B2F26}"/>
          </ac:spMkLst>
        </pc:spChg>
        <pc:spChg chg="mod ord">
          <ac:chgData name="Il Ak" userId="75b527419af0622e" providerId="LiveId" clId="{4975F73D-B62C-41FB-AA0B-311A4A8C5DD3}" dt="2020-01-24T12:29:03.708" v="3280" actId="6549"/>
          <ac:spMkLst>
            <pc:docMk/>
            <pc:sldMk cId="2755887568" sldId="2474"/>
            <ac:spMk id="6" creationId="{33CC6592-AA49-450A-9312-8F655356AD82}"/>
          </ac:spMkLst>
        </pc:spChg>
        <pc:spChg chg="del">
          <ac:chgData name="Il Ak" userId="75b527419af0622e" providerId="LiveId" clId="{4975F73D-B62C-41FB-AA0B-311A4A8C5DD3}" dt="2020-01-24T10:14:58.340" v="514"/>
          <ac:spMkLst>
            <pc:docMk/>
            <pc:sldMk cId="2755887568" sldId="2474"/>
            <ac:spMk id="7" creationId="{1BA30B67-6DB4-4D07-A9FF-FBD7C97F14BE}"/>
          </ac:spMkLst>
        </pc:spChg>
        <pc:spChg chg="mod ord">
          <ac:chgData name="Il Ak" userId="75b527419af0622e" providerId="LiveId" clId="{4975F73D-B62C-41FB-AA0B-311A4A8C5DD3}" dt="2020-01-24T10:19:03.450" v="1062"/>
          <ac:spMkLst>
            <pc:docMk/>
            <pc:sldMk cId="2755887568" sldId="2474"/>
            <ac:spMk id="8" creationId="{E51326B2-B148-4AF8-8F9D-0F0BF795C898}"/>
          </ac:spMkLst>
        </pc:spChg>
        <pc:spChg chg="del">
          <ac:chgData name="Il Ak" userId="75b527419af0622e" providerId="LiveId" clId="{4975F73D-B62C-41FB-AA0B-311A4A8C5DD3}" dt="2020-01-24T10:15:03.188" v="583"/>
          <ac:spMkLst>
            <pc:docMk/>
            <pc:sldMk cId="2755887568" sldId="2474"/>
            <ac:spMk id="10" creationId="{C9E189C0-49EE-4C2A-B39A-52965F0ED197}"/>
          </ac:spMkLst>
        </pc:spChg>
        <pc:spChg chg="del mod ord">
          <ac:chgData name="Il Ak" userId="75b527419af0622e" providerId="LiveId" clId="{4975F73D-B62C-41FB-AA0B-311A4A8C5DD3}" dt="2020-01-24T10:46:28.745" v="3167" actId="478"/>
          <ac:spMkLst>
            <pc:docMk/>
            <pc:sldMk cId="2755887568" sldId="2474"/>
            <ac:spMk id="14" creationId="{8CA539A7-D2B9-401C-AB0A-B684B1B7A9C5}"/>
          </ac:spMkLst>
        </pc:spChg>
        <pc:spChg chg="del">
          <ac:chgData name="Il Ak" userId="75b527419af0622e" providerId="LiveId" clId="{4975F73D-B62C-41FB-AA0B-311A4A8C5DD3}" dt="2020-01-24T10:15:03.188" v="582"/>
          <ac:spMkLst>
            <pc:docMk/>
            <pc:sldMk cId="2755887568" sldId="2474"/>
            <ac:spMk id="19" creationId="{7286CF0D-D11F-4DE5-8D1F-86816F6C693F}"/>
          </ac:spMkLst>
        </pc:spChg>
        <pc:spChg chg="del">
          <ac:chgData name="Il Ak" userId="75b527419af0622e" providerId="LiveId" clId="{4975F73D-B62C-41FB-AA0B-311A4A8C5DD3}" dt="2020-01-24T10:15:03.186" v="580"/>
          <ac:spMkLst>
            <pc:docMk/>
            <pc:sldMk cId="2755887568" sldId="2474"/>
            <ac:spMk id="20" creationId="{339F5456-6688-4901-99F8-8518409A0D79}"/>
          </ac:spMkLst>
        </pc:spChg>
        <pc:spChg chg="del">
          <ac:chgData name="Il Ak" userId="75b527419af0622e" providerId="LiveId" clId="{4975F73D-B62C-41FB-AA0B-311A4A8C5DD3}" dt="2020-01-24T10:15:03.187" v="581"/>
          <ac:spMkLst>
            <pc:docMk/>
            <pc:sldMk cId="2755887568" sldId="2474"/>
            <ac:spMk id="27" creationId="{5FBB69E6-3A9F-45EF-9263-E3AC5BC31C2D}"/>
          </ac:spMkLst>
        </pc:spChg>
        <pc:spChg chg="del">
          <ac:chgData name="Il Ak" userId="75b527419af0622e" providerId="LiveId" clId="{4975F73D-B62C-41FB-AA0B-311A4A8C5DD3}" dt="2020-01-24T10:14:58.345" v="520"/>
          <ac:spMkLst>
            <pc:docMk/>
            <pc:sldMk cId="2755887568" sldId="2474"/>
            <ac:spMk id="37" creationId="{8E1A6372-A94E-43DD-B2DC-BD59C89474E8}"/>
          </ac:spMkLst>
        </pc:spChg>
        <pc:spChg chg="del">
          <ac:chgData name="Il Ak" userId="75b527419af0622e" providerId="LiveId" clId="{4975F73D-B62C-41FB-AA0B-311A4A8C5DD3}" dt="2020-01-24T10:14:58.351" v="530"/>
          <ac:spMkLst>
            <pc:docMk/>
            <pc:sldMk cId="2755887568" sldId="2474"/>
            <ac:spMk id="41" creationId="{1B6B692A-4408-4821-889D-DE809599C6CC}"/>
          </ac:spMkLst>
        </pc:spChg>
        <pc:spChg chg="del">
          <ac:chgData name="Il Ak" userId="75b527419af0622e" providerId="LiveId" clId="{4975F73D-B62C-41FB-AA0B-311A4A8C5DD3}" dt="2020-01-24T10:14:58.352" v="532"/>
          <ac:spMkLst>
            <pc:docMk/>
            <pc:sldMk cId="2755887568" sldId="2474"/>
            <ac:spMk id="42" creationId="{209CB0FE-1070-4185-AE16-5FE5E9CB468A}"/>
          </ac:spMkLst>
        </pc:spChg>
        <pc:spChg chg="del">
          <ac:chgData name="Il Ak" userId="75b527419af0622e" providerId="LiveId" clId="{4975F73D-B62C-41FB-AA0B-311A4A8C5DD3}" dt="2020-01-24T10:14:58.352" v="531"/>
          <ac:spMkLst>
            <pc:docMk/>
            <pc:sldMk cId="2755887568" sldId="2474"/>
            <ac:spMk id="44" creationId="{A0331CBB-8988-4909-839F-B5FDB7C62BE9}"/>
          </ac:spMkLst>
        </pc:spChg>
        <pc:spChg chg="del">
          <ac:chgData name="Il Ak" userId="75b527419af0622e" providerId="LiveId" clId="{4975F73D-B62C-41FB-AA0B-311A4A8C5DD3}" dt="2020-01-24T10:14:58.350" v="529"/>
          <ac:spMkLst>
            <pc:docMk/>
            <pc:sldMk cId="2755887568" sldId="2474"/>
            <ac:spMk id="45" creationId="{E6FF713E-8C89-4FAB-8425-C6A502545CFF}"/>
          </ac:spMkLst>
        </pc:spChg>
        <pc:spChg chg="del">
          <ac:chgData name="Il Ak" userId="75b527419af0622e" providerId="LiveId" clId="{4975F73D-B62C-41FB-AA0B-311A4A8C5DD3}" dt="2020-01-24T10:15:03.178" v="568"/>
          <ac:spMkLst>
            <pc:docMk/>
            <pc:sldMk cId="2755887568" sldId="2474"/>
            <ac:spMk id="51" creationId="{6293BF28-8A6B-4183-9A9D-C9EFC84A4B83}"/>
          </ac:spMkLst>
        </pc:spChg>
        <pc:spChg chg="del">
          <ac:chgData name="Il Ak" userId="75b527419af0622e" providerId="LiveId" clId="{4975F73D-B62C-41FB-AA0B-311A4A8C5DD3}" dt="2020-01-24T10:14:58.337" v="510"/>
          <ac:spMkLst>
            <pc:docMk/>
            <pc:sldMk cId="2755887568" sldId="2474"/>
            <ac:spMk id="53" creationId="{0C05A879-CBDC-4376-9818-4AD568C81767}"/>
          </ac:spMkLst>
        </pc:spChg>
        <pc:spChg chg="add del">
          <ac:chgData name="Il Ak" userId="75b527419af0622e" providerId="LiveId" clId="{4975F73D-B62C-41FB-AA0B-311A4A8C5DD3}" dt="2020-01-24T10:46:32.461" v="3170"/>
          <ac:spMkLst>
            <pc:docMk/>
            <pc:sldMk cId="2755887568" sldId="2474"/>
            <ac:spMk id="55" creationId="{07619F51-21E4-4493-9808-5170F6A3F812}"/>
          </ac:spMkLst>
        </pc:spChg>
        <pc:spChg chg="del">
          <ac:chgData name="Il Ak" userId="75b527419af0622e" providerId="LiveId" clId="{4975F73D-B62C-41FB-AA0B-311A4A8C5DD3}" dt="2020-01-24T10:15:03.177" v="567"/>
          <ac:spMkLst>
            <pc:docMk/>
            <pc:sldMk cId="2755887568" sldId="2474"/>
            <ac:spMk id="56" creationId="{666B3558-9AC3-47D6-AACC-813F04DFC511}"/>
          </ac:spMkLst>
        </pc:spChg>
        <pc:spChg chg="del">
          <ac:chgData name="Il Ak" userId="75b527419af0622e" providerId="LiveId" clId="{4975F73D-B62C-41FB-AA0B-311A4A8C5DD3}" dt="2020-01-24T10:15:03.179" v="569"/>
          <ac:spMkLst>
            <pc:docMk/>
            <pc:sldMk cId="2755887568" sldId="2474"/>
            <ac:spMk id="57" creationId="{0128DEA3-1486-43CE-BE7A-C14E441D033D}"/>
          </ac:spMkLst>
        </pc:spChg>
        <pc:spChg chg="del">
          <ac:chgData name="Il Ak" userId="75b527419af0622e" providerId="LiveId" clId="{4975F73D-B62C-41FB-AA0B-311A4A8C5DD3}" dt="2020-01-24T10:15:03.177" v="566"/>
          <ac:spMkLst>
            <pc:docMk/>
            <pc:sldMk cId="2755887568" sldId="2474"/>
            <ac:spMk id="62" creationId="{ED1AE012-C764-4FC4-906A-BA8FE09EACDD}"/>
          </ac:spMkLst>
        </pc:spChg>
        <pc:spChg chg="del">
          <ac:chgData name="Il Ak" userId="75b527419af0622e" providerId="LiveId" clId="{4975F73D-B62C-41FB-AA0B-311A4A8C5DD3}" dt="2020-01-24T10:14:58.350" v="528"/>
          <ac:spMkLst>
            <pc:docMk/>
            <pc:sldMk cId="2755887568" sldId="2474"/>
            <ac:spMk id="69" creationId="{8E7BB20D-0DD5-4CD2-B8C1-A27B3C5AE57F}"/>
          </ac:spMkLst>
        </pc:spChg>
        <pc:spChg chg="del">
          <ac:chgData name="Il Ak" userId="75b527419af0622e" providerId="LiveId" clId="{4975F73D-B62C-41FB-AA0B-311A4A8C5DD3}" dt="2020-01-24T10:15:03.186" v="579"/>
          <ac:spMkLst>
            <pc:docMk/>
            <pc:sldMk cId="2755887568" sldId="2474"/>
            <ac:spMk id="71" creationId="{0890D503-F3D0-402D-A916-442A380609A7}"/>
          </ac:spMkLst>
        </pc:spChg>
        <pc:spChg chg="del">
          <ac:chgData name="Il Ak" userId="75b527419af0622e" providerId="LiveId" clId="{4975F73D-B62C-41FB-AA0B-311A4A8C5DD3}" dt="2020-01-24T10:15:03.176" v="565"/>
          <ac:spMkLst>
            <pc:docMk/>
            <pc:sldMk cId="2755887568" sldId="2474"/>
            <ac:spMk id="73" creationId="{9015E93B-089C-4705-B726-A9A26A4CA281}"/>
          </ac:spMkLst>
        </pc:spChg>
        <pc:spChg chg="mod ord">
          <ac:chgData name="Il Ak" userId="75b527419af0622e" providerId="LiveId" clId="{4975F73D-B62C-41FB-AA0B-311A4A8C5DD3}" dt="2020-01-24T10:19:35.689" v="1069" actId="14100"/>
          <ac:spMkLst>
            <pc:docMk/>
            <pc:sldMk cId="2755887568" sldId="2474"/>
            <ac:spMk id="91" creationId="{C011E942-A37A-4636-B566-64FEAA9D1491}"/>
          </ac:spMkLst>
        </pc:spChg>
        <pc:spChg chg="del">
          <ac:chgData name="Il Ak" userId="75b527419af0622e" providerId="LiveId" clId="{4975F73D-B62C-41FB-AA0B-311A4A8C5DD3}" dt="2020-01-24T10:14:58.343" v="518"/>
          <ac:spMkLst>
            <pc:docMk/>
            <pc:sldMk cId="2755887568" sldId="2474"/>
            <ac:spMk id="102" creationId="{68760620-F5CD-4FEB-8774-0996933063BD}"/>
          </ac:spMkLst>
        </pc:spChg>
        <pc:spChg chg="mod">
          <ac:chgData name="Il Ak" userId="75b527419af0622e" providerId="LiveId" clId="{4975F73D-B62C-41FB-AA0B-311A4A8C5DD3}" dt="2020-01-24T10:19:03.447" v="1056"/>
          <ac:spMkLst>
            <pc:docMk/>
            <pc:sldMk cId="2755887568" sldId="2474"/>
            <ac:spMk id="125" creationId="{8AAE50AE-82CE-43D8-888D-3EB8C5C74329}"/>
          </ac:spMkLst>
        </pc:spChg>
        <pc:spChg chg="mod">
          <ac:chgData name="Il Ak" userId="75b527419af0622e" providerId="LiveId" clId="{4975F73D-B62C-41FB-AA0B-311A4A8C5DD3}" dt="2020-01-24T10:19:03.447" v="1057"/>
          <ac:spMkLst>
            <pc:docMk/>
            <pc:sldMk cId="2755887568" sldId="2474"/>
            <ac:spMk id="126" creationId="{AD8782AB-35B9-43B8-81F0-CAC04148A943}"/>
          </ac:spMkLst>
        </pc:spChg>
        <pc:spChg chg="mod">
          <ac:chgData name="Il Ak" userId="75b527419af0622e" providerId="LiveId" clId="{4975F73D-B62C-41FB-AA0B-311A4A8C5DD3}" dt="2020-01-24T10:19:03.448" v="1058"/>
          <ac:spMkLst>
            <pc:docMk/>
            <pc:sldMk cId="2755887568" sldId="2474"/>
            <ac:spMk id="129" creationId="{BA3F4C43-0C25-4F87-A2D6-48518D8C3AE6}"/>
          </ac:spMkLst>
        </pc:spChg>
        <pc:spChg chg="mod">
          <ac:chgData name="Il Ak" userId="75b527419af0622e" providerId="LiveId" clId="{4975F73D-B62C-41FB-AA0B-311A4A8C5DD3}" dt="2020-01-24T10:19:03.449" v="1060"/>
          <ac:spMkLst>
            <pc:docMk/>
            <pc:sldMk cId="2755887568" sldId="2474"/>
            <ac:spMk id="145" creationId="{457F82CC-EFD6-47CC-AE5A-E2A98A277775}"/>
          </ac:spMkLst>
        </pc:spChg>
        <pc:spChg chg="mod">
          <ac:chgData name="Il Ak" userId="75b527419af0622e" providerId="LiveId" clId="{4975F73D-B62C-41FB-AA0B-311A4A8C5DD3}" dt="2020-01-24T10:19:03.448" v="1059"/>
          <ac:spMkLst>
            <pc:docMk/>
            <pc:sldMk cId="2755887568" sldId="2474"/>
            <ac:spMk id="146" creationId="{AB70088E-3C1D-4766-97F6-6566E7B4CCD9}"/>
          </ac:spMkLst>
        </pc:spChg>
        <pc:graphicFrameChg chg="add del mod ord">
          <ac:chgData name="Il Ak" userId="75b527419af0622e" providerId="LiveId" clId="{4975F73D-B62C-41FB-AA0B-311A4A8C5DD3}" dt="2020-01-24T10:15:16.394" v="776"/>
          <ac:graphicFrameMkLst>
            <pc:docMk/>
            <pc:sldMk cId="2755887568" sldId="2474"/>
            <ac:graphicFrameMk id="47" creationId="{E286EC70-7A2A-4E79-ADCF-D1E6C4176B6A}"/>
          </ac:graphicFrameMkLst>
        </pc:graphicFrameChg>
        <pc:graphicFrameChg chg="add del mod ord">
          <ac:chgData name="Il Ak" userId="75b527419af0622e" providerId="LiveId" clId="{4975F73D-B62C-41FB-AA0B-311A4A8C5DD3}" dt="2020-01-24T10:15:17.194" v="824"/>
          <ac:graphicFrameMkLst>
            <pc:docMk/>
            <pc:sldMk cId="2755887568" sldId="2474"/>
            <ac:graphicFrameMk id="48" creationId="{B4E8E0C5-718C-4D1A-AB47-8972CF6D0E1A}"/>
          </ac:graphicFrameMkLst>
        </pc:graphicFrameChg>
        <pc:graphicFrameChg chg="add del mod ord">
          <ac:chgData name="Il Ak" userId="75b527419af0622e" providerId="LiveId" clId="{4975F73D-B62C-41FB-AA0B-311A4A8C5DD3}" dt="2020-01-24T10:15:22.387" v="890"/>
          <ac:graphicFrameMkLst>
            <pc:docMk/>
            <pc:sldMk cId="2755887568" sldId="2474"/>
            <ac:graphicFrameMk id="49" creationId="{A8D8EDCB-76AB-4E10-97E8-C032EBCCDAFA}"/>
          </ac:graphicFrameMkLst>
        </pc:graphicFrameChg>
        <pc:graphicFrameChg chg="add del mod ord">
          <ac:chgData name="Il Ak" userId="75b527419af0622e" providerId="LiveId" clId="{4975F73D-B62C-41FB-AA0B-311A4A8C5DD3}" dt="2020-01-24T10:19:01.366" v="1000"/>
          <ac:graphicFrameMkLst>
            <pc:docMk/>
            <pc:sldMk cId="2755887568" sldId="2474"/>
            <ac:graphicFrameMk id="50" creationId="{A1048B31-58FB-4897-9D5F-ED81A5962BD4}"/>
          </ac:graphicFrameMkLst>
        </pc:graphicFrameChg>
        <pc:graphicFrameChg chg="add del mod ord">
          <ac:chgData name="Il Ak" userId="75b527419af0622e" providerId="LiveId" clId="{4975F73D-B62C-41FB-AA0B-311A4A8C5DD3}" dt="2020-01-24T10:19:03.428" v="1038"/>
          <ac:graphicFrameMkLst>
            <pc:docMk/>
            <pc:sldMk cId="2755887568" sldId="2474"/>
            <ac:graphicFrameMk id="52" creationId="{6E232A92-90D0-4DCA-8C4A-2C6144586E5F}"/>
          </ac:graphicFrameMkLst>
        </pc:graphicFrameChg>
        <pc:graphicFrameChg chg="add mod ord">
          <ac:chgData name="Il Ak" userId="75b527419af0622e" providerId="LiveId" clId="{4975F73D-B62C-41FB-AA0B-311A4A8C5DD3}" dt="2020-01-24T10:19:03.446" v="1055"/>
          <ac:graphicFrameMkLst>
            <pc:docMk/>
            <pc:sldMk cId="2755887568" sldId="2474"/>
            <ac:graphicFrameMk id="54" creationId="{E79EF0CA-61FA-46CC-B32F-278D20FF533A}"/>
          </ac:graphicFrameMkLst>
        </pc:graphicFrameChg>
        <pc:graphicFrameChg chg="del">
          <ac:chgData name="Il Ak" userId="75b527419af0622e" providerId="LiveId" clId="{4975F73D-B62C-41FB-AA0B-311A4A8C5DD3}" dt="2020-01-24T10:15:12.876" v="728"/>
          <ac:graphicFrameMkLst>
            <pc:docMk/>
            <pc:sldMk cId="2755887568" sldId="2474"/>
            <ac:graphicFrameMk id="89" creationId="{F380A0FA-ABC1-46AA-9EC4-3D797D5A1059}"/>
          </ac:graphicFrameMkLst>
        </pc:graphicFrameChg>
        <pc:graphicFrameChg chg="del">
          <ac:chgData name="Il Ak" userId="75b527419af0622e" providerId="LiveId" clId="{4975F73D-B62C-41FB-AA0B-311A4A8C5DD3}" dt="2020-01-24T10:14:58.354" v="534"/>
          <ac:graphicFrameMkLst>
            <pc:docMk/>
            <pc:sldMk cId="2755887568" sldId="2474"/>
            <ac:graphicFrameMk id="92" creationId="{F718BC43-01D8-497F-B540-EBAA885218C5}"/>
          </ac:graphicFrameMkLst>
        </pc:graphicFrameChg>
        <pc:graphicFrameChg chg="del">
          <ac:chgData name="Il Ak" userId="75b527419af0622e" providerId="LiveId" clId="{4975F73D-B62C-41FB-AA0B-311A4A8C5DD3}" dt="2020-01-24T10:15:03.190" v="585"/>
          <ac:graphicFrameMkLst>
            <pc:docMk/>
            <pc:sldMk cId="2755887568" sldId="2474"/>
            <ac:graphicFrameMk id="93" creationId="{B349AC17-754C-46BA-AF81-BEEE74A94D49}"/>
          </ac:graphicFrameMkLst>
        </pc:graphicFrameChg>
        <pc:graphicFrameChg chg="del">
          <ac:chgData name="Il Ak" userId="75b527419af0622e" providerId="LiveId" clId="{4975F73D-B62C-41FB-AA0B-311A4A8C5DD3}" dt="2020-01-24T10:15:03.181" v="571"/>
          <ac:graphicFrameMkLst>
            <pc:docMk/>
            <pc:sldMk cId="2755887568" sldId="2474"/>
            <ac:graphicFrameMk id="94" creationId="{F725DF85-DF26-4F3B-8434-067485EB063A}"/>
          </ac:graphicFrameMkLst>
        </pc:graphicFrameChg>
        <pc:graphicFrameChg chg="mod ord">
          <ac:chgData name="Il Ak" userId="75b527419af0622e" providerId="LiveId" clId="{4975F73D-B62C-41FB-AA0B-311A4A8C5DD3}" dt="2020-01-24T12:29:04.798" v="3286"/>
          <ac:graphicFrameMkLst>
            <pc:docMk/>
            <pc:sldMk cId="2755887568" sldId="2474"/>
            <ac:graphicFrameMk id="7170" creationId="{BE174EA5-253C-41DB-9C13-59D2D3D0449E}"/>
          </ac:graphicFrameMkLst>
        </pc:graphicFrameChg>
        <pc:cxnChg chg="del">
          <ac:chgData name="Il Ak" userId="75b527419af0622e" providerId="LiveId" clId="{4975F73D-B62C-41FB-AA0B-311A4A8C5DD3}" dt="2020-01-24T10:14:58.339" v="512"/>
          <ac:cxnSpMkLst>
            <pc:docMk/>
            <pc:sldMk cId="2755887568" sldId="2474"/>
            <ac:cxnSpMk id="11" creationId="{6278ED76-78ED-404C-9D7E-3BE747BD98D4}"/>
          </ac:cxnSpMkLst>
        </pc:cxnChg>
        <pc:cxnChg chg="del">
          <ac:chgData name="Il Ak" userId="75b527419af0622e" providerId="LiveId" clId="{4975F73D-B62C-41FB-AA0B-311A4A8C5DD3}" dt="2020-01-24T10:14:58.349" v="526"/>
          <ac:cxnSpMkLst>
            <pc:docMk/>
            <pc:sldMk cId="2755887568" sldId="2474"/>
            <ac:cxnSpMk id="12" creationId="{1F756B6B-DDB4-4125-8B0E-928580B1F83F}"/>
          </ac:cxnSpMkLst>
        </pc:cxnChg>
        <pc:cxnChg chg="del">
          <ac:chgData name="Il Ak" userId="75b527419af0622e" providerId="LiveId" clId="{4975F73D-B62C-41FB-AA0B-311A4A8C5DD3}" dt="2020-01-24T10:14:58.347" v="524"/>
          <ac:cxnSpMkLst>
            <pc:docMk/>
            <pc:sldMk cId="2755887568" sldId="2474"/>
            <ac:cxnSpMk id="13" creationId="{FE78CEC3-01C6-4E5C-A0A0-73247CA57E75}"/>
          </ac:cxnSpMkLst>
        </pc:cxnChg>
        <pc:cxnChg chg="del">
          <ac:chgData name="Il Ak" userId="75b527419af0622e" providerId="LiveId" clId="{4975F73D-B62C-41FB-AA0B-311A4A8C5DD3}" dt="2020-01-24T10:14:58.346" v="522"/>
          <ac:cxnSpMkLst>
            <pc:docMk/>
            <pc:sldMk cId="2755887568" sldId="2474"/>
            <ac:cxnSpMk id="15" creationId="{321C5D3D-9D45-44CE-B28E-749BB08C82B4}"/>
          </ac:cxnSpMkLst>
        </pc:cxnChg>
        <pc:cxnChg chg="del">
          <ac:chgData name="Il Ak" userId="75b527419af0622e" providerId="LiveId" clId="{4975F73D-B62C-41FB-AA0B-311A4A8C5DD3}" dt="2020-01-24T10:15:03.184" v="577"/>
          <ac:cxnSpMkLst>
            <pc:docMk/>
            <pc:sldMk cId="2755887568" sldId="2474"/>
            <ac:cxnSpMk id="16" creationId="{CC3B6D47-B881-4BAB-80A9-A7C69A38C71D}"/>
          </ac:cxnSpMkLst>
        </pc:cxnChg>
        <pc:cxnChg chg="del">
          <ac:chgData name="Il Ak" userId="75b527419af0622e" providerId="LiveId" clId="{4975F73D-B62C-41FB-AA0B-311A4A8C5DD3}" dt="2020-01-24T10:15:03.183" v="575"/>
          <ac:cxnSpMkLst>
            <pc:docMk/>
            <pc:sldMk cId="2755887568" sldId="2474"/>
            <ac:cxnSpMk id="17" creationId="{0990D431-3EC4-44AB-B4D0-80347FCE18A4}"/>
          </ac:cxnSpMkLst>
        </pc:cxnChg>
        <pc:cxnChg chg="del">
          <ac:chgData name="Il Ak" userId="75b527419af0622e" providerId="LiveId" clId="{4975F73D-B62C-41FB-AA0B-311A4A8C5DD3}" dt="2020-01-24T10:15:03.182" v="573"/>
          <ac:cxnSpMkLst>
            <pc:docMk/>
            <pc:sldMk cId="2755887568" sldId="2474"/>
            <ac:cxnSpMk id="18" creationId="{06350F9C-2A2A-4C8C-B9ED-6F9C00E7427C}"/>
          </ac:cxnSpMkLst>
        </pc:cxnChg>
        <pc:cxnChg chg="del">
          <ac:chgData name="Il Ak" userId="75b527419af0622e" providerId="LiveId" clId="{4975F73D-B62C-41FB-AA0B-311A4A8C5DD3}" dt="2020-01-24T10:15:03.175" v="563"/>
          <ac:cxnSpMkLst>
            <pc:docMk/>
            <pc:sldMk cId="2755887568" sldId="2474"/>
            <ac:cxnSpMk id="21" creationId="{98295A70-D5B7-4C06-B19D-7789A4F26DF8}"/>
          </ac:cxnSpMkLst>
        </pc:cxnChg>
        <pc:cxnChg chg="del">
          <ac:chgData name="Il Ak" userId="75b527419af0622e" providerId="LiveId" clId="{4975F73D-B62C-41FB-AA0B-311A4A8C5DD3}" dt="2020-01-24T10:15:03.173" v="561"/>
          <ac:cxnSpMkLst>
            <pc:docMk/>
            <pc:sldMk cId="2755887568" sldId="2474"/>
            <ac:cxnSpMk id="22" creationId="{505D7B41-5F26-4F5F-9235-06EF13932A0A}"/>
          </ac:cxnSpMkLst>
        </pc:cxnChg>
        <pc:cxnChg chg="del">
          <ac:chgData name="Il Ak" userId="75b527419af0622e" providerId="LiveId" clId="{4975F73D-B62C-41FB-AA0B-311A4A8C5DD3}" dt="2020-01-24T10:15:03.172" v="559"/>
          <ac:cxnSpMkLst>
            <pc:docMk/>
            <pc:sldMk cId="2755887568" sldId="2474"/>
            <ac:cxnSpMk id="23" creationId="{DF831952-A134-494C-953A-9431495A3F70}"/>
          </ac:cxnSpMkLst>
        </pc:cxnChg>
      </pc:sldChg>
    </pc:docChg>
  </pc:docChgLst>
  <pc:docChgLst>
    <pc:chgData name="Il Ak" userId="75b527419af0622e" providerId="LiveId" clId="{5C01C30F-002E-4852-9BB6-EA8F86322A72}"/>
    <pc:docChg chg="undo custSel modSld">
      <pc:chgData name="Il Ak" userId="75b527419af0622e" providerId="LiveId" clId="{5C01C30F-002E-4852-9BB6-EA8F86322A72}" dt="2020-03-01T19:47:37.748" v="9"/>
      <pc:docMkLst>
        <pc:docMk/>
      </pc:docMkLst>
      <pc:sldChg chg="addSp delSp modSp">
        <pc:chgData name="Il Ak" userId="75b527419af0622e" providerId="LiveId" clId="{5C01C30F-002E-4852-9BB6-EA8F86322A72}" dt="2020-03-01T19:47:37.748" v="9"/>
        <pc:sldMkLst>
          <pc:docMk/>
          <pc:sldMk cId="2516308424" sldId="2467"/>
        </pc:sldMkLst>
        <pc:spChg chg="add del mod topLvl">
          <ac:chgData name="Il Ak" userId="75b527419af0622e" providerId="LiveId" clId="{5C01C30F-002E-4852-9BB6-EA8F86322A72}" dt="2020-03-01T19:47:35.379" v="5" actId="478"/>
          <ac:spMkLst>
            <pc:docMk/>
            <pc:sldMk cId="2516308424" sldId="2467"/>
            <ac:spMk id="4" creationId="{F4F250EE-E145-466C-867D-294DEDE36BE7}"/>
          </ac:spMkLst>
        </pc:spChg>
        <pc:spChg chg="mod">
          <ac:chgData name="Il Ak" userId="75b527419af0622e" providerId="LiveId" clId="{5C01C30F-002E-4852-9BB6-EA8F86322A72}" dt="2020-03-01T19:47:37.748" v="9"/>
          <ac:spMkLst>
            <pc:docMk/>
            <pc:sldMk cId="2516308424" sldId="2467"/>
            <ac:spMk id="9" creationId="{513B3AC6-EB9B-442E-A164-9044E9F14B2A}"/>
          </ac:spMkLst>
        </pc:spChg>
        <pc:grpChg chg="mod topLvl">
          <ac:chgData name="Il Ak" userId="75b527419af0622e" providerId="LiveId" clId="{5C01C30F-002E-4852-9BB6-EA8F86322A72}" dt="2020-03-01T19:47:37.748" v="9"/>
          <ac:grpSpMkLst>
            <pc:docMk/>
            <pc:sldMk cId="2516308424" sldId="2467"/>
            <ac:grpSpMk id="16" creationId="{F76A97FB-01B0-49F2-9740-DB2B0BDBA99E}"/>
          </ac:grpSpMkLst>
        </pc:grpChg>
        <pc:grpChg chg="add del mod">
          <ac:chgData name="Il Ak" userId="75b527419af0622e" providerId="LiveId" clId="{5C01C30F-002E-4852-9BB6-EA8F86322A72}" dt="2020-03-01T19:47:37.748" v="9"/>
          <ac:grpSpMkLst>
            <pc:docMk/>
            <pc:sldMk cId="2516308424" sldId="2467"/>
            <ac:grpSpMk id="7169" creationId="{669BDB83-0BAF-42BB-94F2-DFDDA152BFA5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7" y="2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CFB7FEED-C190-4810-913F-7438EE41104D}" type="datetimeFigureOut">
              <a:rPr lang="en-GB" smtClean="0"/>
              <a:pPr/>
              <a:t>16/06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3800" y="1246188"/>
            <a:ext cx="4470400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87127"/>
            <a:ext cx="5486400" cy="3916740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8187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7" y="9448187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313230" y="2103197"/>
            <a:ext cx="12309231" cy="5799863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31411" y="2103201"/>
            <a:ext cx="8436760" cy="395064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27" b="0" i="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1" y="2103204"/>
            <a:ext cx="8436760" cy="2635171"/>
          </a:xfrm>
        </p:spPr>
        <p:txBody>
          <a:bodyPr bIns="234000" anchor="b">
            <a:normAutofit/>
          </a:bodyPr>
          <a:lstStyle>
            <a:lvl1pPr marL="574445" indent="0" algn="l">
              <a:defRPr sz="2327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5" y="2555875"/>
            <a:ext cx="11961495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20040" indent="-32004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3453" y="8898896"/>
            <a:ext cx="312039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640080" rtl="0" eaLnBrk="1" latinLnBrk="0" hangingPunct="1">
              <a:defRPr sz="168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40080" lvl="1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lvl="2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lvl="3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lvl="4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lvl="5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lvl="6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lvl="7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lvl="8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93910" y="8898896"/>
            <a:ext cx="468058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640080" rtl="0" eaLnBrk="1" latinLnBrk="0" hangingPunct="1">
              <a:defRPr sz="168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40080" lvl="1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lvl="2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lvl="3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lvl="4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lvl="5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lvl="6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lvl="7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lvl="8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3545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14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8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96910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04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17389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835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81008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78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602" y="1746762"/>
            <a:ext cx="11740399" cy="7235880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7058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23156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248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981636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086" y="378652"/>
            <a:ext cx="11877429" cy="3877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62085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446827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431571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446828" y="1492889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Заделы региона</a:t>
            </a:r>
            <a:endParaRPr lang="en-GB" sz="1540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431571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Тренды отрасли</a:t>
            </a:r>
            <a:endParaRPr lang="en-GB" sz="154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62085" y="2075130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1.1. Ключевые показате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62085" y="5177496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1.2. Связанные отрас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446827" y="2075128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1. Топ</a:t>
            </a:r>
            <a:r>
              <a:rPr lang="en-US" sz="1400" b="1" dirty="0">
                <a:solidFill>
                  <a:schemeClr val="bg1"/>
                </a:solidFill>
              </a:rPr>
              <a:t>-5 </a:t>
            </a:r>
            <a:r>
              <a:rPr lang="ru-RU" sz="1400" b="1" dirty="0">
                <a:solidFill>
                  <a:schemeClr val="bg1"/>
                </a:solidFill>
              </a:rPr>
              <a:t>орг-ий </a:t>
            </a:r>
            <a:r>
              <a:rPr lang="en-GB" sz="1400" b="1" dirty="0">
                <a:solidFill>
                  <a:schemeClr val="bg1"/>
                </a:solidFill>
              </a:rPr>
              <a:t>(&gt;50 </a:t>
            </a:r>
            <a:r>
              <a:rPr lang="ru-RU" sz="1400" b="1" dirty="0">
                <a:solidFill>
                  <a:schemeClr val="bg1"/>
                </a:solidFill>
              </a:rPr>
              <a:t>млн р.)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446827" y="3846468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2 Ключевые продукты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9416313" y="1880731"/>
            <a:ext cx="2923200" cy="614427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446827" y="517749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3. Ресурсы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9416313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0"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Возможности локализации</a:t>
            </a:r>
            <a:endParaRPr lang="en-GB" sz="154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431571" y="2075129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3.1. Мировые тренд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455344" y="2366088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Новые продукты:</a:t>
            </a:r>
            <a:endParaRPr lang="en-GB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431571" y="5177496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3.2. Российские тренд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76309" y="2366089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Производство</a:t>
            </a:r>
            <a:r>
              <a:rPr lang="en-US" sz="1400" dirty="0"/>
              <a:t> (2017)</a:t>
            </a:r>
            <a:r>
              <a:rPr lang="ru-RU" sz="1400" dirty="0"/>
              <a:t>, млрд руб.</a:t>
            </a:r>
            <a:endParaRPr lang="en-GB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76309" y="3846470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Рабочие места</a:t>
            </a:r>
            <a:r>
              <a:rPr lang="en-US" sz="1400" dirty="0"/>
              <a:t> (2017)</a:t>
            </a:r>
            <a:r>
              <a:rPr lang="ru-RU" sz="1400" dirty="0"/>
              <a:t>, тыс. ед.</a:t>
            </a:r>
            <a:endParaRPr lang="en-GB" sz="14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470604" y="2366089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Выручка (2017), млрд руб.</a:t>
            </a:r>
            <a:endParaRPr lang="en-GB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470604" y="5488792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Природные ресурсы:</a:t>
            </a:r>
            <a:endParaRPr lang="en-GB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470604" y="6732186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Человеческий потенциал:</a:t>
            </a:r>
            <a:endParaRPr lang="en-GB" sz="14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455344" y="3837715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Растущие рынки:</a:t>
            </a:r>
            <a:endParaRPr lang="en-GB" sz="14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455348" y="5488792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Госполитика:</a:t>
            </a:r>
            <a:endParaRPr lang="en-GB" sz="14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455348" y="6732185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Импортозамещение:</a:t>
            </a:r>
            <a:endParaRPr lang="en-GB" sz="1400" dirty="0"/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46825" y="4144187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68989" y="5739355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45790" y="5739355"/>
            <a:ext cx="2864659" cy="963949"/>
          </a:xfrm>
          <a:prstGeom prst="rect">
            <a:avLst/>
          </a:prstGeom>
        </p:spPr>
        <p:txBody>
          <a:bodyPr lIns="54000" tIns="0" rIns="0" bIns="0"/>
          <a:lstStyle>
            <a:lvl1pPr marL="0" indent="504508"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68984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31566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1571" y="2636796"/>
            <a:ext cx="2878879" cy="1105066"/>
          </a:xfrm>
          <a:prstGeom prst="rect">
            <a:avLst/>
          </a:prstGeom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566" y="4144187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76309" y="5488793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Отрасли-поставщики:</a:t>
            </a:r>
            <a:endParaRPr lang="en-GB" sz="14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76309" y="6732186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Отрасли-потребители:</a:t>
            </a:r>
            <a:endParaRPr lang="en-GB" sz="1400" dirty="0"/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309" y="5739355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309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9416313" y="2075127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1. Поставщик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9416313" y="383771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2. Потребите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9416313" y="5165627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3. Ремонт/монтаж оборуд-ия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9416313" y="673218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4. Новые продукт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16313" y="2366089"/>
            <a:ext cx="2878879" cy="1375773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6313" y="4144186"/>
            <a:ext cx="2878879" cy="99255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6313" y="5488793"/>
            <a:ext cx="2878879" cy="1214511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16313" y="6976512"/>
            <a:ext cx="2878879" cy="963949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76309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461052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445795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9430537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49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1538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8927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16315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246698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marL="0" marR="0" lvl="0" indent="246698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62085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Описание отрасли</a:t>
            </a:r>
            <a:endParaRPr lang="en-GB" sz="154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404156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2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388899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3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419413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1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9373641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4</a:t>
            </a:r>
            <a:endParaRPr lang="en-GB" sz="154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39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76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783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703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63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624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1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63938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245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921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6506"/>
              </p:ext>
            </p:ext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3" name="think-cell Slide" r:id="rId5" imgW="347" imgH="348" progId="">
                  <p:embed/>
                </p:oleObj>
              </mc:Choice>
              <mc:Fallback>
                <p:oleObj name="think-cell Slide" r:id="rId5" imgW="347" imgH="348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45057" y="253367"/>
            <a:ext cx="11911488" cy="10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25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36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1240" y="907342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1813561"/>
            <a:ext cx="12048173" cy="4716145"/>
          </a:xfrm>
        </p:spPr>
        <p:txBody>
          <a:bodyPr>
            <a:normAutofit/>
          </a:bodyPr>
          <a:lstStyle>
            <a:lvl1pPr>
              <a:defRPr sz="3360"/>
            </a:lvl1pPr>
            <a:lvl2pPr marL="960120" indent="-320040">
              <a:buFont typeface="Arial" panose="020B0604020202020204" pitchFamily="34" charset="0"/>
              <a:buChar char="−"/>
              <a:defRPr sz="2800"/>
            </a:lvl2pPr>
            <a:lvl3pPr marL="1600200" indent="-320040">
              <a:buFont typeface="Wingdings" panose="05000000000000000000" pitchFamily="2" charset="2"/>
              <a:buChar char="§"/>
              <a:defRPr sz="2520"/>
            </a:lvl3pPr>
            <a:lvl4pPr marL="2240280" indent="-320040">
              <a:buFont typeface="Courier New" panose="02070309020205020404" pitchFamily="49" charset="0"/>
              <a:buChar char="o"/>
              <a:defRPr sz="2240"/>
            </a:lvl4pPr>
            <a:lvl5pPr marL="2880360" indent="-320040">
              <a:buFont typeface="Wingdings" panose="05000000000000000000" pitchFamily="2" charset="2"/>
              <a:buChar char="ü"/>
              <a:defRPr sz="224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806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20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50506" y="1171397"/>
            <a:ext cx="6149483" cy="8064896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400800" y="1171397"/>
            <a:ext cx="6250294" cy="8064896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280C3-F257-4A6E-B028-02333E3AAC2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231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0F7C4-4EF2-40B8-903E-7BEA78B0C1D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44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57EE9-0CA4-49C3-8275-90CBC9F6222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33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 lIns="128016" tIns="64008" rIns="128016" bIns="64008"/>
          <a:lstStyle/>
          <a:p>
            <a:pPr defTabSz="1280160"/>
            <a:endParaRPr lang="ru-RU" sz="25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 lIns="128016" tIns="64008" rIns="128016" bIns="64008"/>
          <a:lstStyle/>
          <a:p>
            <a:pPr defTabSz="1280160"/>
            <a:endParaRPr lang="ru-RU" sz="25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126000" anchor="ctr">
            <a:noAutofit/>
          </a:bodyPr>
          <a:lstStyle>
            <a:lvl1pPr marL="0" indent="0" algn="l"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600"/>
            </a:lvl2pPr>
            <a:lvl3pPr marL="1181716" indent="0" algn="ctr">
              <a:buNone/>
              <a:defRPr sz="2300"/>
            </a:lvl3pPr>
            <a:lvl4pPr marL="1772574" indent="0" algn="ctr">
              <a:buNone/>
              <a:defRPr sz="2100"/>
            </a:lvl4pPr>
            <a:lvl5pPr marL="2363431" indent="0" algn="ctr">
              <a:buNone/>
              <a:defRPr sz="2100"/>
            </a:lvl5pPr>
            <a:lvl6pPr marL="2954290" indent="0" algn="ctr">
              <a:buNone/>
              <a:defRPr sz="2100"/>
            </a:lvl6pPr>
            <a:lvl7pPr marL="3545147" indent="0" algn="ctr">
              <a:buNone/>
              <a:defRPr sz="2100"/>
            </a:lvl7pPr>
            <a:lvl8pPr marL="4136005" indent="0" algn="ctr">
              <a:buNone/>
              <a:defRPr sz="2100"/>
            </a:lvl8pPr>
            <a:lvl9pPr marL="4726863" indent="0" algn="ctr">
              <a:buNone/>
              <a:defRPr sz="21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9" descr="Картинка 1 из 968">
            <a:hlinkClick r:id="rId2"/>
            <a:extLst>
              <a:ext uri="{FF2B5EF4-FFF2-40B4-BE49-F238E27FC236}">
                <a16:creationId xmlns:a16="http://schemas.microsoft.com/office/drawing/2014/main" xmlns="" id="{87200A93-A39B-D54D-A3AB-7AAB72FD32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58677" y="-46879"/>
            <a:ext cx="1020813" cy="142721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57694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72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96840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372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17426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09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89322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0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38115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5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43767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28419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34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8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8264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6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14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1" r:id="rId13"/>
    <p:sldLayoutId id="2147483650" r:id="rId14"/>
    <p:sldLayoutId id="2147483652" r:id="rId15"/>
    <p:sldLayoutId id="2147483651" r:id="rId16"/>
    <p:sldLayoutId id="2147483683" r:id="rId17"/>
    <p:sldLayoutId id="2147483684" r:id="rId18"/>
    <p:sldLayoutId id="2147483685" r:id="rId19"/>
    <p:sldLayoutId id="2147483686" r:id="rId20"/>
    <p:sldLayoutId id="2147483690" r:id="rId21"/>
    <p:sldLayoutId id="2147483692" r:id="rId22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719371" y="-2222"/>
            <a:ext cx="80011" cy="868998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661588" y="-2222"/>
            <a:ext cx="40005" cy="868998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634917" y="-2222"/>
            <a:ext cx="13335" cy="868998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2568240" y="-2222"/>
            <a:ext cx="35560" cy="868998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2481564" y="2"/>
            <a:ext cx="77788" cy="820103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2426002" y="2"/>
            <a:ext cx="8891" cy="820103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8016" tIns="64008" rIns="128016" bIns="64008" anchor="ctr"/>
          <a:lstStyle/>
          <a:p>
            <a:pPr algn="ctr"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500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57876" y="5"/>
            <a:ext cx="648971" cy="531178"/>
          </a:xfrm>
          <a:prstGeom prst="rect">
            <a:avLst/>
          </a:prstGeom>
        </p:spPr>
        <p:txBody>
          <a:bodyPr wrap="none" lIns="128016" tIns="64008" rIns="128016" bIns="64008">
            <a:normAutofit/>
          </a:bodyPr>
          <a:lstStyle/>
          <a:p>
            <a:pPr defTabSz="128016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500" dirty="0">
              <a:solidFill>
                <a:srgbClr val="000000"/>
              </a:solidFill>
            </a:endParaRPr>
          </a:p>
        </p:txBody>
      </p:sp>
      <p:sp>
        <p:nvSpPr>
          <p:cNvPr id="1037" name="Заголовок 21"/>
          <p:cNvSpPr>
            <a:spLocks noGrp="1"/>
          </p:cNvSpPr>
          <p:nvPr>
            <p:ph type="title"/>
          </p:nvPr>
        </p:nvSpPr>
        <p:spPr bwMode="auto">
          <a:xfrm>
            <a:off x="154560" y="193986"/>
            <a:ext cx="11690045" cy="87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1038" name="Текст 12"/>
          <p:cNvSpPr>
            <a:spLocks noGrp="1"/>
          </p:cNvSpPr>
          <p:nvPr>
            <p:ph type="body" idx="1"/>
          </p:nvPr>
        </p:nvSpPr>
        <p:spPr bwMode="auto">
          <a:xfrm>
            <a:off x="150506" y="1171397"/>
            <a:ext cx="12551085" cy="803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1642983" y="9236293"/>
            <a:ext cx="1018833" cy="364907"/>
          </a:xfrm>
          <a:prstGeom prst="rect">
            <a:avLst/>
          </a:prstGeom>
        </p:spPr>
        <p:txBody>
          <a:bodyPr vert="horz" wrap="square" lIns="128016" tIns="64008" rIns="128016" bIns="64008" numCol="1" anchor="ctr" anchorCtr="0" compatLnSpc="1">
            <a:prstTxWarp prst="textNoShape">
              <a:avLst/>
            </a:prstTxWarp>
          </a:bodyPr>
          <a:lstStyle>
            <a:lvl1pPr algn="r">
              <a:defRPr sz="17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1280160" fontAlgn="base">
              <a:spcBef>
                <a:spcPct val="0"/>
              </a:spcBef>
              <a:spcAft>
                <a:spcPct val="0"/>
              </a:spcAft>
              <a:defRPr/>
            </a:pPr>
            <a:fld id="{90E909B7-EE4B-4FE9-A7E0-BDDDF935EA0C}" type="slidenum">
              <a:rPr lang="ru-RU" smtClean="0">
                <a:solidFill>
                  <a:prstClr val="black"/>
                </a:solidFill>
              </a:rPr>
              <a:pPr defTabSz="128016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1188" y="163285"/>
            <a:ext cx="712613" cy="906401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>
            <a:off x="150506" y="1097935"/>
            <a:ext cx="12568864" cy="0"/>
          </a:xfrm>
          <a:prstGeom prst="line">
            <a:avLst/>
          </a:prstGeom>
          <a:noFill/>
          <a:ln w="12700" cap="flat" cmpd="tri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schemeClr val="tx1">
                <a:alpha val="20000"/>
              </a:scheme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62280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5pPr>
      <a:lvl6pPr marL="640065"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6pPr>
      <a:lvl7pPr marL="1280128"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7pPr>
      <a:lvl8pPr marL="1920192"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8pPr>
      <a:lvl9pPr marL="2560256" algn="ctr" rtl="0" eaLnBrk="1" fontAlgn="base" hangingPunct="1">
        <a:spcBef>
          <a:spcPct val="0"/>
        </a:spcBef>
        <a:spcAft>
          <a:spcPct val="0"/>
        </a:spcAft>
        <a:defRPr sz="4200">
          <a:solidFill>
            <a:schemeClr val="accent2"/>
          </a:solidFill>
          <a:latin typeface="Arial" charset="0"/>
        </a:defRPr>
      </a:lvl9pPr>
    </p:titleStyle>
    <p:bodyStyle>
      <a:lvl1pPr marL="511162" indent="-357815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3900">
          <a:solidFill>
            <a:schemeClr val="tx1"/>
          </a:solidFill>
          <a:latin typeface="+mn-lt"/>
          <a:ea typeface="+mn-ea"/>
          <a:cs typeface="+mn-cs"/>
        </a:defRPr>
      </a:lvl1pPr>
      <a:lvl2pPr marL="920093" indent="-344480" algn="l" rtl="0" eaLnBrk="1" fontAlgn="base" hangingPunct="1">
        <a:spcBef>
          <a:spcPts val="42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3600">
          <a:solidFill>
            <a:schemeClr val="accent2"/>
          </a:solidFill>
          <a:latin typeface="+mn-lt"/>
        </a:defRPr>
      </a:lvl2pPr>
      <a:lvl3pPr marL="1291242" indent="-306697" algn="l" rtl="0" eaLnBrk="1" fontAlgn="base" hangingPunct="1">
        <a:spcBef>
          <a:spcPts val="42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3400">
          <a:solidFill>
            <a:schemeClr val="accent1"/>
          </a:solidFill>
          <a:latin typeface="+mn-lt"/>
        </a:defRPr>
      </a:lvl3pPr>
      <a:lvl4pPr marL="1651278" indent="-280028" algn="l" rtl="0" eaLnBrk="1" fontAlgn="base" hangingPunct="1">
        <a:spcBef>
          <a:spcPts val="42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3100">
          <a:solidFill>
            <a:schemeClr val="accent1"/>
          </a:solidFill>
          <a:latin typeface="+mn-lt"/>
        </a:defRPr>
      </a:lvl4pPr>
      <a:lvl5pPr marL="1944639" indent="-255581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800">
          <a:solidFill>
            <a:srgbClr val="A04DA3"/>
          </a:solidFill>
          <a:latin typeface="+mn-lt"/>
        </a:defRPr>
      </a:lvl5pPr>
      <a:lvl6pPr marL="2584704" indent="-255581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800">
          <a:solidFill>
            <a:srgbClr val="A04DA3"/>
          </a:solidFill>
          <a:latin typeface="+mn-lt"/>
        </a:defRPr>
      </a:lvl6pPr>
      <a:lvl7pPr marL="3224767" indent="-255581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800">
          <a:solidFill>
            <a:srgbClr val="A04DA3"/>
          </a:solidFill>
          <a:latin typeface="+mn-lt"/>
        </a:defRPr>
      </a:lvl7pPr>
      <a:lvl8pPr marL="3864832" indent="-255581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800">
          <a:solidFill>
            <a:srgbClr val="A04DA3"/>
          </a:solidFill>
          <a:latin typeface="+mn-lt"/>
        </a:defRPr>
      </a:lvl8pPr>
      <a:lvl9pPr marL="4504895" indent="-255581" algn="l" rtl="0" eaLnBrk="1" fontAlgn="base" hangingPunct="1">
        <a:spcBef>
          <a:spcPts val="42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8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65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28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192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256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320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383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448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513" algn="l" defTabSz="128012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711" y="2265775"/>
            <a:ext cx="6465215" cy="7284936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12054840" y="9105266"/>
            <a:ext cx="74676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7264718-516D-4284-812E-2FE0C1302E6C}" type="slidenum">
              <a:rPr lang="en-GB" sz="2240" b="1"/>
              <a:pPr/>
              <a:t>1</a:t>
            </a:fld>
            <a:endParaRPr lang="en-GB" sz="2240" b="1" dirty="0"/>
          </a:p>
        </p:txBody>
      </p:sp>
      <p:sp>
        <p:nvSpPr>
          <p:cNvPr id="22" name="TextBox 1"/>
          <p:cNvSpPr txBox="1"/>
          <p:nvPr/>
        </p:nvSpPr>
        <p:spPr>
          <a:xfrm>
            <a:off x="6566462" y="6045123"/>
            <a:ext cx="5345724" cy="256948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ru-RU" sz="2000" dirty="0" smtClean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</a:pPr>
            <a:endParaRPr lang="ru-RU" sz="2000" dirty="0" smtClean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</a:pPr>
            <a:endParaRPr lang="ru-RU" sz="2000" dirty="0">
              <a:solidFill>
                <a:schemeClr val="accent1"/>
              </a:solidFill>
            </a:endParaRPr>
          </a:p>
        </p:txBody>
      </p:sp>
      <p:sp>
        <p:nvSpPr>
          <p:cNvPr id="16" name="Прямоугольник с двумя скругленными противолежащими углами 15"/>
          <p:cNvSpPr/>
          <p:nvPr/>
        </p:nvSpPr>
        <p:spPr>
          <a:xfrm>
            <a:off x="543079" y="3086794"/>
            <a:ext cx="3695787" cy="3030990"/>
          </a:xfrm>
          <a:prstGeom prst="round2DiagRect">
            <a:avLst/>
          </a:prstGeom>
          <a:gradFill flip="none" rotWithShape="1">
            <a:gsLst>
              <a:gs pos="0">
                <a:srgbClr val="CCFFCC">
                  <a:shade val="30000"/>
                  <a:satMod val="115000"/>
                </a:srgbClr>
              </a:gs>
              <a:gs pos="50000">
                <a:srgbClr val="CCFFCC">
                  <a:shade val="67500"/>
                  <a:satMod val="115000"/>
                </a:srgbClr>
              </a:gs>
              <a:gs pos="100000">
                <a:srgbClr val="CCFFCC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ысокое качество управления </a:t>
            </a:r>
            <a:r>
              <a:rPr lang="ru-RU" b="1" dirty="0">
                <a:solidFill>
                  <a:schemeClr val="tx1"/>
                </a:solidFill>
              </a:rPr>
              <a:t>– 7</a:t>
            </a:r>
            <a:r>
              <a:rPr lang="ru-RU" b="1" dirty="0" smtClean="0">
                <a:solidFill>
                  <a:schemeClr val="tx1"/>
                </a:solidFill>
              </a:rPr>
              <a:t> МО</a:t>
            </a:r>
          </a:p>
          <a:p>
            <a:pPr algn="ctr"/>
            <a:r>
              <a:rPr lang="ru-RU" dirty="0" err="1" smtClean="0">
                <a:solidFill>
                  <a:schemeClr val="tx1"/>
                </a:solidFill>
              </a:rPr>
              <a:t>Газимуро</a:t>
            </a:r>
            <a:r>
              <a:rPr lang="ru-RU" dirty="0" smtClean="0">
                <a:solidFill>
                  <a:schemeClr val="tx1"/>
                </a:solidFill>
              </a:rPr>
              <a:t>-Заводский район, Карымский район, Кыринский район, Могойтуйский район, Могочинский район, </a:t>
            </a:r>
            <a:r>
              <a:rPr lang="ru-RU" dirty="0" err="1" smtClean="0">
                <a:solidFill>
                  <a:schemeClr val="tx1"/>
                </a:solidFill>
              </a:rPr>
              <a:t>Тунгиро-Олёкминский</a:t>
            </a:r>
            <a:r>
              <a:rPr lang="ru-RU" dirty="0" smtClean="0">
                <a:solidFill>
                  <a:schemeClr val="tx1"/>
                </a:solidFill>
              </a:rPr>
              <a:t> район, Чернышевский район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с двумя скругленными противолежащими углами 20"/>
          <p:cNvSpPr/>
          <p:nvPr/>
        </p:nvSpPr>
        <p:spPr>
          <a:xfrm>
            <a:off x="666044" y="6799550"/>
            <a:ext cx="3572822" cy="2053339"/>
          </a:xfrm>
          <a:prstGeom prst="round2DiagRect">
            <a:avLst/>
          </a:prstGeom>
          <a:gradFill flip="none" rotWithShape="1">
            <a:gsLst>
              <a:gs pos="0">
                <a:srgbClr val="FF7C80">
                  <a:shade val="30000"/>
                  <a:satMod val="115000"/>
                </a:srgbClr>
              </a:gs>
              <a:gs pos="50000">
                <a:srgbClr val="FF7C80">
                  <a:shade val="67500"/>
                  <a:satMod val="115000"/>
                </a:srgbClr>
              </a:gs>
              <a:gs pos="100000">
                <a:srgbClr val="FF7C8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енадлежащее качество управления – 2 МО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Оловяннинский </a:t>
            </a:r>
            <a:r>
              <a:rPr lang="ru-RU" dirty="0">
                <a:solidFill>
                  <a:schemeClr val="tx1"/>
                </a:solidFill>
              </a:rPr>
              <a:t>район</a:t>
            </a:r>
            <a:r>
              <a:rPr lang="ru-RU" dirty="0" smtClean="0">
                <a:solidFill>
                  <a:schemeClr val="tx1"/>
                </a:solidFill>
              </a:rPr>
              <a:t>, Приаргунский муниципальный округ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DD3760F2-5E42-4E56-9A59-0D251427C5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43079" y="1404438"/>
            <a:ext cx="12006847" cy="864304"/>
          </a:xfrm>
          <a:prstGeom prst="rect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</a:ln>
        </p:spPr>
        <p:txBody>
          <a:bodyPr vert="horz" wrap="none" lIns="142875" tIns="142875" rIns="0" bIns="141288" numCol="1" spcCol="0" rtlCol="0" anchor="ctr" anchorCtr="0">
            <a:noAutofit/>
          </a:bodyPr>
          <a:lstStyle>
            <a:lvl1pPr marL="320040" indent="-32004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800" b="1" cap="small" dirty="0" smtClean="0">
                <a:solidFill>
                  <a:schemeClr val="bg1"/>
                </a:solidFill>
              </a:rPr>
              <a:t>Муниципальные образования по степени качества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800" b="1" cap="small" dirty="0" smtClean="0">
                <a:solidFill>
                  <a:schemeClr val="bg1"/>
                </a:solidFill>
              </a:rPr>
              <a:t>управления муниципальными финансами за 2020 год</a:t>
            </a:r>
            <a:endParaRPr lang="ru-RU" sz="2800" b="1" cap="small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57966" y="2670285"/>
            <a:ext cx="1515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+1 МО</a:t>
            </a:r>
            <a:endParaRPr lang="ru-RU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257966" y="6337885"/>
            <a:ext cx="1515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-5 МО</a:t>
            </a:r>
            <a:endParaRPr lang="ru-RU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8181896" y="2647474"/>
            <a:ext cx="1515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+4 МО</a:t>
            </a:r>
            <a:endParaRPr lang="ru-RU" sz="2400" b="1" dirty="0"/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776029" y="3014133"/>
            <a:ext cx="4422889" cy="3030990"/>
          </a:xfrm>
          <a:prstGeom prst="round2DiagRect">
            <a:avLst/>
          </a:prstGeom>
          <a:gradFill flip="none" rotWithShape="1">
            <a:gsLst>
              <a:gs pos="0">
                <a:srgbClr val="FFFF66">
                  <a:shade val="30000"/>
                  <a:satMod val="115000"/>
                </a:srgbClr>
              </a:gs>
              <a:gs pos="50000">
                <a:srgbClr val="FFFF66">
                  <a:shade val="67500"/>
                  <a:satMod val="115000"/>
                </a:srgbClr>
              </a:gs>
              <a:gs pos="100000">
                <a:srgbClr val="FFFF66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Надлежащее качество управления </a:t>
            </a:r>
            <a:r>
              <a:rPr lang="ru-RU" sz="1400" b="1" dirty="0">
                <a:solidFill>
                  <a:schemeClr val="tx1"/>
                </a:solidFill>
              </a:rPr>
              <a:t>– 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6 МО</a:t>
            </a:r>
          </a:p>
          <a:p>
            <a:pPr algn="ctr"/>
            <a:r>
              <a:rPr lang="ru-RU" sz="1400" dirty="0" err="1" smtClean="0">
                <a:solidFill>
                  <a:schemeClr val="tx1"/>
                </a:solidFill>
              </a:rPr>
              <a:t>Агинский,Акшинский</a:t>
            </a:r>
            <a:r>
              <a:rPr lang="ru-RU" sz="1400" dirty="0" smtClean="0">
                <a:solidFill>
                  <a:schemeClr val="tx1"/>
                </a:solidFill>
              </a:rPr>
              <a:t>, </a:t>
            </a:r>
            <a:r>
              <a:rPr lang="ru-RU" sz="1400" dirty="0" err="1" smtClean="0">
                <a:solidFill>
                  <a:schemeClr val="tx1"/>
                </a:solidFill>
              </a:rPr>
              <a:t>Александрово</a:t>
            </a:r>
            <a:r>
              <a:rPr lang="ru-RU" sz="1400" dirty="0" smtClean="0">
                <a:solidFill>
                  <a:schemeClr val="tx1"/>
                </a:solidFill>
              </a:rPr>
              <a:t>-Заводский, Балейский, Борзинский, Дульдургинский, Забайкальский, Калганский, Краснокаменский, Красночикойский, Нерчинский, </a:t>
            </a:r>
            <a:r>
              <a:rPr lang="ru-RU" sz="1400" dirty="0" err="1" smtClean="0">
                <a:solidFill>
                  <a:schemeClr val="tx1"/>
                </a:solidFill>
              </a:rPr>
              <a:t>Нерчинско</a:t>
            </a:r>
            <a:r>
              <a:rPr lang="ru-RU" sz="1400" dirty="0" smtClean="0">
                <a:solidFill>
                  <a:schemeClr val="tx1"/>
                </a:solidFill>
              </a:rPr>
              <a:t>-Заводский, Ононский, Петровск-Забайкальский, Сретенский, Тунгокоченский, </a:t>
            </a:r>
            <a:r>
              <a:rPr lang="ru-RU" sz="1400" dirty="0" err="1" smtClean="0">
                <a:solidFill>
                  <a:schemeClr val="tx1"/>
                </a:solidFill>
              </a:rPr>
              <a:t>Улётовский</a:t>
            </a:r>
            <a:r>
              <a:rPr lang="ru-RU" sz="1400" dirty="0" smtClean="0">
                <a:solidFill>
                  <a:schemeClr val="tx1"/>
                </a:solidFill>
              </a:rPr>
              <a:t>, Хилокский, Читинский, </a:t>
            </a:r>
            <a:r>
              <a:rPr lang="ru-RU" sz="1400" dirty="0" err="1" smtClean="0">
                <a:solidFill>
                  <a:schemeClr val="tx1"/>
                </a:solidFill>
              </a:rPr>
              <a:t>Шелопугинский</a:t>
            </a:r>
            <a:r>
              <a:rPr lang="ru-RU" sz="1400" dirty="0" smtClean="0">
                <a:solidFill>
                  <a:schemeClr val="tx1"/>
                </a:solidFill>
              </a:rPr>
              <a:t>, Шилкинский районы, Каларский МО, Поселок Агинское, </a:t>
            </a:r>
            <a:r>
              <a:rPr lang="ru-RU" sz="1400" dirty="0" err="1" smtClean="0">
                <a:solidFill>
                  <a:schemeClr val="tx1"/>
                </a:solidFill>
              </a:rPr>
              <a:t>г.Чита</a:t>
            </a:r>
            <a:r>
              <a:rPr lang="ru-RU" sz="1400" dirty="0" smtClean="0">
                <a:solidFill>
                  <a:schemeClr val="tx1"/>
                </a:solidFill>
              </a:rPr>
              <a:t>, </a:t>
            </a:r>
            <a:r>
              <a:rPr lang="ru-RU" sz="1400" dirty="0" err="1" smtClean="0">
                <a:solidFill>
                  <a:schemeClr val="tx1"/>
                </a:solidFill>
              </a:rPr>
              <a:t>г.Петровск-Забайкальский,п.Горный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09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2&quot;&gt;&lt;elem m_fUsage=&quot;4.48803100000000032566E+00&quot;&gt;&lt;m_msothmcolidx val=&quot;0&quot;/&gt;&lt;m_rgb r=&quot;00&quot; g=&quot;E1&quot; b=&quot;65&quot;/&gt;&lt;m_nBrightness endver=&quot;26206&quot; val=&quot;0&quot;/&gt;&lt;/elem&gt;&lt;elem m_fUsage=&quot;2.93548672003334321090E+00&quot;&gt;&lt;m_msothmcolidx val=&quot;0&quot;/&gt;&lt;m_rgb r=&quot;00&quot; g=&quot;70&quot; b=&quot;C0&quot;/&gt;&lt;m_nBrightness endver=&quot;26206&quot; val=&quot;0&quot;/&gt;&lt;/elem&gt;&lt;elem m_fUsage=&quot;1.68573838555576349663E+00&quot;&gt;&lt;m_msothmcolidx val=&quot;0&quot;/&gt;&lt;m_rgb r=&quot;00&quot; g=&quot;B0&quot; b=&quot;50&quot;/&gt;&lt;m_nBrightness endver=&quot;26206&quot; val=&quot;0&quot;/&gt;&lt;/elem&gt;&lt;elem m_fUsage=&quot;4.19731024686270104418E-01&quot;&gt;&lt;m_msothmcolidx val=&quot;0&quot;/&gt;&lt;m_rgb r=&quot;FF&quot; g=&quot;00&quot; b=&quot;00&quot;/&gt;&lt;m_nBrightness endver=&quot;26206&quot; val=&quot;0&quot;/&gt;&lt;/elem&gt;&lt;elem m_fUsage=&quot;1.64054522302139182965E-01&quot;&gt;&lt;m_msothmcolidx val=&quot;0&quot;/&gt;&lt;m_rgb r=&quot;FE&quot; g=&quot;37&quot; b=&quot;37&quot;/&gt;&lt;m_nBrightness endver=&quot;26206&quot; val=&quot;0&quot;/&gt;&lt;/elem&gt;&lt;elem m_fUsage=&quot;1.18053776965155496348E-01&quot;&gt;&lt;m_msothmcolidx val=&quot;0&quot;/&gt;&lt;m_rgb r=&quot;0C&quot; g=&quot;C2&quot; b=&quot;79&quot;/&gt;&lt;m_nBrightness endver=&quot;26206&quot; val=&quot;0&quot;/&gt;&lt;/elem&gt;&lt;elem m_fUsage=&quot;3.09031543826326429714E-02&quot;&gt;&lt;m_msothmcolidx val=&quot;0&quot;/&gt;&lt;m_rgb r=&quot;CC&quot; g=&quot;FF&quot; b=&quot;CC&quot;/&gt;&lt;m_nBrightness endver=&quot;26206&quot; val=&quot;0&quot;/&gt;&lt;/elem&gt;&lt;elem m_fUsage=&quot;2.97259979155518154481E-02&quot;&gt;&lt;m_msothmcolidx val=&quot;0&quot;/&gt;&lt;m_rgb r=&quot;FF&quot; g=&quot;AE&quot; b=&quot;AE&quot;/&gt;&lt;m_nBrightness endver=&quot;26206&quot; val=&quot;0&quot;/&gt;&lt;/elem&gt;&lt;elem m_fUsage=&quot;2.93404995901389194224E-02&quot;&gt;&lt;m_msothmcolidx val=&quot;0&quot;/&gt;&lt;m_rgb r=&quot;91&quot; g=&quot;13&quot; b=&quot;60&quot;/&gt;&lt;m_nBrightness endver=&quot;26206&quot; val=&quot;0&quot;/&gt;&lt;/elem&gt;&lt;elem m_fUsage=&quot;2.90232672957065826469E-02&quot;&gt;&lt;m_msothmcolidx val=&quot;0&quot;/&gt;&lt;m_rgb r=&quot;62&quot; g=&quot;A2&quot; b=&quot;97&quot;/&gt;&lt;m_nBrightness endver=&quot;26206&quot; val=&quot;0&quot;/&gt;&lt;/elem&gt;&lt;elem m_fUsage=&quot;2.00047428131128468554E-02&quot;&gt;&lt;m_msothmcolidx val=&quot;0&quot;/&gt;&lt;m_rgb r=&quot;0D&quot; g=&quot;62&quot; b=&quot;00&quot;/&gt;&lt;m_nBrightness endver=&quot;26206&quot; val=&quot;0&quot;/&gt;&lt;/elem&gt;&lt;elem m_fUsage=&quot;1.19725151825620327456E-02&quot;&gt;&lt;m_msothmcolidx val=&quot;0&quot;/&gt;&lt;m_rgb r=&quot;B6&quot; g=&quot;01&quot; b=&quot;01&quot;/&gt;&lt;m_nBrightness endver=&quot;26206&quot; val=&quot;0&quot;/&gt;&lt;/elem&gt;&lt;elem m_fUsage=&quot;1.10511054593329313689E-02&quot;&gt;&lt;m_msothmcolidx val=&quot;0&quot;/&gt;&lt;m_rgb r=&quot;34&quot; g=&quot;34&quot; b=&quot;34&quot;/&gt;&lt;m_nBrightness endver=&quot;26206&quot; val=&quot;0&quot;/&gt;&lt;/elem&gt;&lt;elem m_fUsage=&quot;8.72796356808772273717E-03&quot;&gt;&lt;m_msothmcolidx val=&quot;0&quot;/&gt;&lt;m_rgb r=&quot;FF&quot; g=&quot;BC&quot; b=&quot;BC&quot;/&gt;&lt;m_nBrightness endver=&quot;26206&quot; val=&quot;0&quot;/&gt;&lt;/elem&gt;&lt;elem m_fUsage=&quot;5.58577928551129681417E-03&quot;&gt;&lt;m_msothmcolidx val=&quot;0&quot;/&gt;&lt;m_rgb r=&quot;A5&quot; g=&quot;A5&quot; b=&quot;AA&quot;/&gt;&lt;m_nBrightness endver=&quot;26206&quot; val=&quot;0&quot;/&gt;&lt;/elem&gt;&lt;elem m_fUsage=&quot;4.69393097331354848534E-03&quot;&gt;&lt;m_msothmcolidx val=&quot;0&quot;/&gt;&lt;m_rgb r=&quot;92&quot; g=&quot;18&quot; b=&quot;4F&quot;/&gt;&lt;m_nBrightness endver=&quot;26206&quot; val=&quot;0&quot;/&gt;&lt;/elem&gt;&lt;elem m_fUsage=&quot;2.73892744995341171077E-03&quot;&gt;&lt;m_msothmcolidx val=&quot;0&quot;/&gt;&lt;m_rgb r=&quot;FF&quot; g=&quot;99&quot; b=&quot;00&quot;/&gt;&lt;m_nBrightness endver=&quot;26206&quot; val=&quot;0&quot;/&gt;&lt;/elem&gt;&lt;elem m_fUsage=&quot;2.46503470495807071317E-03&quot;&gt;&lt;m_msothmcolidx val=&quot;0&quot;/&gt;&lt;m_rgb r=&quot;F9&quot; g=&quot;F3&quot; b=&quot;8A&quot;/&gt;&lt;m_nBrightness endver=&quot;26206&quot; val=&quot;0&quot;/&gt;&lt;/elem&gt;&lt;elem m_fUsage=&quot;1.77625659968508298713E-03&quot;&gt;&lt;m_msothmcolidx val=&quot;0&quot;/&gt;&lt;m_rgb r=&quot;00&quot; g=&quot;20&quot; b=&quot;60&quot;/&gt;&lt;m_nBrightness endver=&quot;26206&quot; val=&quot;0&quot;/&gt;&lt;/elem&gt;&lt;elem m_fUsage=&quot;4.46176478299374612829E-04&quot;&gt;&lt;m_msothmcolidx val=&quot;0&quot;/&gt;&lt;m_rgb r=&quot;66&quot; g=&quot;00&quot; b=&quot;33&quot;/&gt;&lt;m_nBrightness endver=&quot;26206&quot; val=&quot;0&quot;/&gt;&lt;/elem&gt;&lt;elem m_fUsage=&quot;1.48462516578593705817E-04&quot;&gt;&lt;m_msothmcolidx val=&quot;0&quot;/&gt;&lt;m_rgb r=&quot;0D&quot; g=&quot;35&quot; b=&quot;7A&quot;/&gt;&lt;m_nBrightness endver=&quot;26206&quot; val=&quot;0&quot;/&gt;&lt;/elem&gt;&lt;elem m_fUsage=&quot;6.17036519171519230774E-05&quot;&gt;&lt;m_msothmcolidx val=&quot;0&quot;/&gt;&lt;m_rgb r=&quot;74&quot; g=&quot;25&quot; b=&quot;4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W4vTwTYHsOvxf_a4e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Город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166</TotalTime>
  <Words>115</Words>
  <Application>Microsoft Office PowerPoint</Application>
  <PresentationFormat>A3 (297x420 мм)</PresentationFormat>
  <Paragraphs>14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Office Theme</vt:lpstr>
      <vt:lpstr>10_Городская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НЕГАТИВНЫХ ТРЕНДАХ В БЮДЖЕТНОЙ ОБЕСПЕЧЕННОСТИ ЗАБАЙКАЛЬСКОГО КРАЯ</dc:title>
  <dc:creator>Il Ak</dc:creator>
  <cp:lastModifiedBy>администратор</cp:lastModifiedBy>
  <cp:revision>1255</cp:revision>
  <cp:lastPrinted>2021-06-08T01:18:39Z</cp:lastPrinted>
  <dcterms:created xsi:type="dcterms:W3CDTF">2019-03-30T07:42:18Z</dcterms:created>
  <dcterms:modified xsi:type="dcterms:W3CDTF">2021-06-16T02:20:54Z</dcterms:modified>
</cp:coreProperties>
</file>